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8" r:id="rId5"/>
    <p:sldMasterId id="2147483691" r:id="rId6"/>
    <p:sldMasterId id="2147483702" r:id="rId7"/>
    <p:sldMasterId id="2147483721" r:id="rId8"/>
    <p:sldMasterId id="2147483729" r:id="rId9"/>
    <p:sldMasterId id="2147483752" r:id="rId10"/>
    <p:sldMasterId id="2147483780" r:id="rId11"/>
  </p:sldMasterIdLst>
  <p:notesMasterIdLst>
    <p:notesMasterId r:id="rId14"/>
  </p:notesMasterIdLst>
  <p:sldIdLst>
    <p:sldId id="2146849021" r:id="rId12"/>
    <p:sldId id="2146849022" r:id="rId13"/>
  </p:sldIdLst>
  <p:sldSz cx="12192000" cy="6858000"/>
  <p:notesSz cx="6858000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7BB"/>
    <a:srgbClr val="EEDC00"/>
    <a:srgbClr val="004712"/>
    <a:srgbClr val="AFADA0"/>
    <a:srgbClr val="70AC2E"/>
    <a:srgbClr val="82C8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Stile chiaro 1 - Color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Stile chiaro 2 - Color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04" autoAdjust="0"/>
    <p:restoredTop sz="94660"/>
  </p:normalViewPr>
  <p:slideViewPr>
    <p:cSldViewPr snapToGrid="0">
      <p:cViewPr varScale="1">
        <p:scale>
          <a:sx n="67" d="100"/>
          <a:sy n="67" d="100"/>
        </p:scale>
        <p:origin x="85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MPA ANDREA (PCL)" userId="25f280f7-0f51-43a5-a794-6139a984949a" providerId="ADAL" clId="{524FBF4D-4478-40E2-87CF-A15DB4BDF41B}"/>
    <pc:docChg chg="custSel delSld modSld delMainMaster">
      <pc:chgData name="ZAMPA ANDREA (PCL)" userId="25f280f7-0f51-43a5-a794-6139a984949a" providerId="ADAL" clId="{524FBF4D-4478-40E2-87CF-A15DB4BDF41B}" dt="2023-06-09T11:48:37.473" v="392" actId="20577"/>
      <pc:docMkLst>
        <pc:docMk/>
      </pc:docMkLst>
      <pc:sldChg chg="del">
        <pc:chgData name="ZAMPA ANDREA (PCL)" userId="25f280f7-0f51-43a5-a794-6139a984949a" providerId="ADAL" clId="{524FBF4D-4478-40E2-87CF-A15DB4BDF41B}" dt="2023-06-08T15:33:55.795" v="0" actId="47"/>
        <pc:sldMkLst>
          <pc:docMk/>
          <pc:sldMk cId="670227848" sldId="2146848692"/>
        </pc:sldMkLst>
      </pc:sldChg>
      <pc:sldChg chg="del">
        <pc:chgData name="ZAMPA ANDREA (PCL)" userId="25f280f7-0f51-43a5-a794-6139a984949a" providerId="ADAL" clId="{524FBF4D-4478-40E2-87CF-A15DB4BDF41B}" dt="2023-06-08T15:33:56.245" v="1" actId="47"/>
        <pc:sldMkLst>
          <pc:docMk/>
          <pc:sldMk cId="19177487" sldId="2146848963"/>
        </pc:sldMkLst>
      </pc:sldChg>
      <pc:sldChg chg="del">
        <pc:chgData name="ZAMPA ANDREA (PCL)" userId="25f280f7-0f51-43a5-a794-6139a984949a" providerId="ADAL" clId="{524FBF4D-4478-40E2-87CF-A15DB4BDF41B}" dt="2023-06-08T15:34:02.318" v="4" actId="47"/>
        <pc:sldMkLst>
          <pc:docMk/>
          <pc:sldMk cId="1897135873" sldId="2146848964"/>
        </pc:sldMkLst>
      </pc:sldChg>
      <pc:sldChg chg="del">
        <pc:chgData name="ZAMPA ANDREA (PCL)" userId="25f280f7-0f51-43a5-a794-6139a984949a" providerId="ADAL" clId="{524FBF4D-4478-40E2-87CF-A15DB4BDF41B}" dt="2023-06-08T15:33:57.809" v="2" actId="47"/>
        <pc:sldMkLst>
          <pc:docMk/>
          <pc:sldMk cId="1100262723" sldId="2146848973"/>
        </pc:sldMkLst>
      </pc:sldChg>
      <pc:sldChg chg="del">
        <pc:chgData name="ZAMPA ANDREA (PCL)" userId="25f280f7-0f51-43a5-a794-6139a984949a" providerId="ADAL" clId="{524FBF4D-4478-40E2-87CF-A15DB4BDF41B}" dt="2023-06-08T15:34:13.712" v="10" actId="47"/>
        <pc:sldMkLst>
          <pc:docMk/>
          <pc:sldMk cId="1311019943" sldId="2146848977"/>
        </pc:sldMkLst>
      </pc:sldChg>
      <pc:sldChg chg="del">
        <pc:chgData name="ZAMPA ANDREA (PCL)" userId="25f280f7-0f51-43a5-a794-6139a984949a" providerId="ADAL" clId="{524FBF4D-4478-40E2-87CF-A15DB4BDF41B}" dt="2023-06-08T15:34:08.002" v="6" actId="47"/>
        <pc:sldMkLst>
          <pc:docMk/>
          <pc:sldMk cId="2558960055" sldId="2146848983"/>
        </pc:sldMkLst>
      </pc:sldChg>
      <pc:sldChg chg="del">
        <pc:chgData name="ZAMPA ANDREA (PCL)" userId="25f280f7-0f51-43a5-a794-6139a984949a" providerId="ADAL" clId="{524FBF4D-4478-40E2-87CF-A15DB4BDF41B}" dt="2023-06-08T15:33:59.212" v="3" actId="47"/>
        <pc:sldMkLst>
          <pc:docMk/>
          <pc:sldMk cId="2171741590" sldId="2146848984"/>
        </pc:sldMkLst>
      </pc:sldChg>
      <pc:sldChg chg="del">
        <pc:chgData name="ZAMPA ANDREA (PCL)" userId="25f280f7-0f51-43a5-a794-6139a984949a" providerId="ADAL" clId="{524FBF4D-4478-40E2-87CF-A15DB4BDF41B}" dt="2023-06-08T15:34:13.343" v="9" actId="47"/>
        <pc:sldMkLst>
          <pc:docMk/>
          <pc:sldMk cId="1703219480" sldId="2146848985"/>
        </pc:sldMkLst>
      </pc:sldChg>
      <pc:sldChg chg="del">
        <pc:chgData name="ZAMPA ANDREA (PCL)" userId="25f280f7-0f51-43a5-a794-6139a984949a" providerId="ADAL" clId="{524FBF4D-4478-40E2-87CF-A15DB4BDF41B}" dt="2023-06-08T15:34:14.026" v="11" actId="47"/>
        <pc:sldMkLst>
          <pc:docMk/>
          <pc:sldMk cId="1481285745" sldId="2146848986"/>
        </pc:sldMkLst>
      </pc:sldChg>
      <pc:sldChg chg="del">
        <pc:chgData name="ZAMPA ANDREA (PCL)" userId="25f280f7-0f51-43a5-a794-6139a984949a" providerId="ADAL" clId="{524FBF4D-4478-40E2-87CF-A15DB4BDF41B}" dt="2023-06-08T15:34:03.094" v="5" actId="47"/>
        <pc:sldMkLst>
          <pc:docMk/>
          <pc:sldMk cId="3320746634" sldId="2146849012"/>
        </pc:sldMkLst>
      </pc:sldChg>
      <pc:sldChg chg="del">
        <pc:chgData name="ZAMPA ANDREA (PCL)" userId="25f280f7-0f51-43a5-a794-6139a984949a" providerId="ADAL" clId="{524FBF4D-4478-40E2-87CF-A15DB4BDF41B}" dt="2023-06-08T15:34:14.666" v="13" actId="47"/>
        <pc:sldMkLst>
          <pc:docMk/>
          <pc:sldMk cId="1313073931" sldId="2146849016"/>
        </pc:sldMkLst>
      </pc:sldChg>
      <pc:sldChg chg="del">
        <pc:chgData name="ZAMPA ANDREA (PCL)" userId="25f280f7-0f51-43a5-a794-6139a984949a" providerId="ADAL" clId="{524FBF4D-4478-40E2-87CF-A15DB4BDF41B}" dt="2023-06-08T15:34:12.792" v="8" actId="47"/>
        <pc:sldMkLst>
          <pc:docMk/>
          <pc:sldMk cId="809806968" sldId="2146849017"/>
        </pc:sldMkLst>
      </pc:sldChg>
      <pc:sldChg chg="del">
        <pc:chgData name="ZAMPA ANDREA (PCL)" userId="25f280f7-0f51-43a5-a794-6139a984949a" providerId="ADAL" clId="{524FBF4D-4478-40E2-87CF-A15DB4BDF41B}" dt="2023-06-08T15:34:15.024" v="14" actId="47"/>
        <pc:sldMkLst>
          <pc:docMk/>
          <pc:sldMk cId="1903189674" sldId="2146849019"/>
        </pc:sldMkLst>
      </pc:sldChg>
      <pc:sldChg chg="del">
        <pc:chgData name="ZAMPA ANDREA (PCL)" userId="25f280f7-0f51-43a5-a794-6139a984949a" providerId="ADAL" clId="{524FBF4D-4478-40E2-87CF-A15DB4BDF41B}" dt="2023-06-08T15:34:14.296" v="12" actId="47"/>
        <pc:sldMkLst>
          <pc:docMk/>
          <pc:sldMk cId="1602617856" sldId="2146849020"/>
        </pc:sldMkLst>
      </pc:sldChg>
      <pc:sldChg chg="addSp delSp modSp mod">
        <pc:chgData name="ZAMPA ANDREA (PCL)" userId="25f280f7-0f51-43a5-a794-6139a984949a" providerId="ADAL" clId="{524FBF4D-4478-40E2-87CF-A15DB4BDF41B}" dt="2023-06-09T11:48:37.473" v="392" actId="20577"/>
        <pc:sldMkLst>
          <pc:docMk/>
          <pc:sldMk cId="2943575857" sldId="2146849021"/>
        </pc:sldMkLst>
        <pc:spChg chg="add mod">
          <ac:chgData name="ZAMPA ANDREA (PCL)" userId="25f280f7-0f51-43a5-a794-6139a984949a" providerId="ADAL" clId="{524FBF4D-4478-40E2-87CF-A15DB4BDF41B}" dt="2023-06-09T11:48:26.230" v="374" actId="20577"/>
          <ac:spMkLst>
            <pc:docMk/>
            <pc:sldMk cId="2943575857" sldId="2146849021"/>
            <ac:spMk id="4" creationId="{AD8BCF18-EBEB-BD27-6B15-C4F4B32587A7}"/>
          </ac:spMkLst>
        </pc:spChg>
        <pc:spChg chg="mod">
          <ac:chgData name="ZAMPA ANDREA (PCL)" userId="25f280f7-0f51-43a5-a794-6139a984949a" providerId="ADAL" clId="{524FBF4D-4478-40E2-87CF-A15DB4BDF41B}" dt="2023-06-09T11:48:37.473" v="392" actId="20577"/>
          <ac:spMkLst>
            <pc:docMk/>
            <pc:sldMk cId="2943575857" sldId="2146849021"/>
            <ac:spMk id="33" creationId="{B1CD3314-E9C7-4027-9DD7-2A3E052B80B5}"/>
          </ac:spMkLst>
        </pc:spChg>
        <pc:graphicFrameChg chg="add del mod modGraphic">
          <ac:chgData name="ZAMPA ANDREA (PCL)" userId="25f280f7-0f51-43a5-a794-6139a984949a" providerId="ADAL" clId="{524FBF4D-4478-40E2-87CF-A15DB4BDF41B}" dt="2023-06-09T11:45:38.151" v="342" actId="478"/>
          <ac:graphicFrameMkLst>
            <pc:docMk/>
            <pc:sldMk cId="2943575857" sldId="2146849021"/>
            <ac:graphicFrameMk id="3" creationId="{36E9297C-3C40-8660-C58E-0DFD0F86DDD1}"/>
          </ac:graphicFrameMkLst>
        </pc:graphicFrameChg>
        <pc:graphicFrameChg chg="del">
          <ac:chgData name="ZAMPA ANDREA (PCL)" userId="25f280f7-0f51-43a5-a794-6139a984949a" providerId="ADAL" clId="{524FBF4D-4478-40E2-87CF-A15DB4BDF41B}" dt="2023-06-08T15:34:11.021" v="7" actId="478"/>
          <ac:graphicFrameMkLst>
            <pc:docMk/>
            <pc:sldMk cId="2943575857" sldId="2146849021"/>
            <ac:graphicFrameMk id="6" creationId="{5BB7FEC1-2898-48DB-755A-D3B12875D85E}"/>
          </ac:graphicFrameMkLst>
        </pc:graphicFrameChg>
        <pc:graphicFrameChg chg="add mod modGraphic">
          <ac:chgData name="ZAMPA ANDREA (PCL)" userId="25f280f7-0f51-43a5-a794-6139a984949a" providerId="ADAL" clId="{524FBF4D-4478-40E2-87CF-A15DB4BDF41B}" dt="2023-06-09T11:48:03.917" v="368" actId="14734"/>
          <ac:graphicFrameMkLst>
            <pc:docMk/>
            <pc:sldMk cId="2943575857" sldId="2146849021"/>
            <ac:graphicFrameMk id="6" creationId="{A2EBB966-8AF8-8D08-9EB2-4AD01EE237E3}"/>
          </ac:graphicFrameMkLst>
        </pc:graphicFrameChg>
      </pc:sldChg>
      <pc:sldMasterChg chg="del delSldLayout">
        <pc:chgData name="ZAMPA ANDREA (PCL)" userId="25f280f7-0f51-43a5-a794-6139a984949a" providerId="ADAL" clId="{524FBF4D-4478-40E2-87CF-A15DB4BDF41B}" dt="2023-06-08T15:33:55.795" v="0" actId="47"/>
        <pc:sldMasterMkLst>
          <pc:docMk/>
          <pc:sldMasterMk cId="1510186503" sldId="2147483648"/>
        </pc:sldMasterMkLst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3262719341" sldId="2147483649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869692910" sldId="2147483650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1858663635" sldId="2147483651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1340244668" sldId="2147483652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160214014" sldId="2147483653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1260585270" sldId="2147483654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753419796" sldId="2147483655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2397554294" sldId="2147483656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4050111497" sldId="2147483657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2173852720" sldId="2147483658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3300595641" sldId="2147483659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1960911264" sldId="2147483688"/>
          </pc:sldLayoutMkLst>
        </pc:sldLayoutChg>
        <pc:sldLayoutChg chg="del">
          <pc:chgData name="ZAMPA ANDREA (PCL)" userId="25f280f7-0f51-43a5-a794-6139a984949a" providerId="ADAL" clId="{524FBF4D-4478-40E2-87CF-A15DB4BDF41B}" dt="2023-06-08T15:33:55.795" v="0" actId="47"/>
          <pc:sldLayoutMkLst>
            <pc:docMk/>
            <pc:sldMasterMk cId="1510186503" sldId="2147483648"/>
            <pc:sldLayoutMk cId="257133116" sldId="2147483768"/>
          </pc:sldLayoutMkLst>
        </pc:sldLayoutChg>
      </pc:sldMasterChg>
      <pc:sldMasterChg chg="delSldLayout">
        <pc:chgData name="ZAMPA ANDREA (PCL)" userId="25f280f7-0f51-43a5-a794-6139a984949a" providerId="ADAL" clId="{524FBF4D-4478-40E2-87CF-A15DB4BDF41B}" dt="2023-06-08T15:34:14.666" v="13" actId="47"/>
        <pc:sldMasterMkLst>
          <pc:docMk/>
          <pc:sldMasterMk cId="1396163084" sldId="2147483752"/>
        </pc:sldMasterMkLst>
        <pc:sldLayoutChg chg="del">
          <pc:chgData name="ZAMPA ANDREA (PCL)" userId="25f280f7-0f51-43a5-a794-6139a984949a" providerId="ADAL" clId="{524FBF4D-4478-40E2-87CF-A15DB4BDF41B}" dt="2023-06-08T15:34:14.666" v="13" actId="47"/>
          <pc:sldLayoutMkLst>
            <pc:docMk/>
            <pc:sldMasterMk cId="1396163084" sldId="2147483752"/>
            <pc:sldLayoutMk cId="635857816" sldId="214748379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9B342A-FDFC-40A9-B2E1-4FF617267216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70E1BF-1DB2-4E20-A4F4-70B37886812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0721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G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EE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75"/>
          </a:p>
        </p:txBody>
      </p:sp>
      <p:sp>
        <p:nvSpPr>
          <p:cNvPr id="35" name="Titolo 1">
            <a:extLst>
              <a:ext uri="{FF2B5EF4-FFF2-40B4-BE49-F238E27FC236}">
                <a16:creationId xmlns:a16="http://schemas.microsoft.com/office/drawing/2014/main" id="{D32E7196-8556-489D-BF5F-EA5336D8D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6" name="Sottotitolo 2">
            <a:extLst>
              <a:ext uri="{FF2B5EF4-FFF2-40B4-BE49-F238E27FC236}">
                <a16:creationId xmlns:a16="http://schemas.microsoft.com/office/drawing/2014/main" id="{D6BBD262-1CB0-4156-A491-E1942DE70F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39" name="Segnaposto testo 23">
            <a:extLst>
              <a:ext uri="{FF2B5EF4-FFF2-40B4-BE49-F238E27FC236}">
                <a16:creationId xmlns:a16="http://schemas.microsoft.com/office/drawing/2014/main" id="{1D5EDDEF-CC6E-4E4B-99BF-8DF642C8C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Roma, gg mese </a:t>
            </a:r>
            <a:r>
              <a:rPr lang="it-IT" err="1"/>
              <a:t>aaaa</a:t>
            </a:r>
            <a:endParaRPr lang="it-IT"/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18A30A7B-4D87-4C7D-9158-83DEABF90320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43" name="Connettore diritto 42">
              <a:extLst>
                <a:ext uri="{FF2B5EF4-FFF2-40B4-BE49-F238E27FC236}">
                  <a16:creationId xmlns:a16="http://schemas.microsoft.com/office/drawing/2014/main" id="{AF30C1F0-C558-4119-AC8D-21A7E20ADD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diritto 43">
              <a:extLst>
                <a:ext uri="{FF2B5EF4-FFF2-40B4-BE49-F238E27FC236}">
                  <a16:creationId xmlns:a16="http://schemas.microsoft.com/office/drawing/2014/main" id="{A1E7D8DC-648D-410E-92E4-7A8D2CF5E7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Immagine 11" descr="PI_logo_o_RGB_p.jpg">
            <a:extLst>
              <a:ext uri="{FF2B5EF4-FFF2-40B4-BE49-F238E27FC236}">
                <a16:creationId xmlns:a16="http://schemas.microsoft.com/office/drawing/2014/main" id="{F5102C9E-374B-4840-B046-87F7CA8822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4" name="Rectangle 17">
            <a:extLst>
              <a:ext uri="{FF2B5EF4-FFF2-40B4-BE49-F238E27FC236}">
                <a16:creationId xmlns:a16="http://schemas.microsoft.com/office/drawing/2014/main" id="{8A15406B-7343-477D-97E3-55DBB9AD0A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90911" y="6382258"/>
            <a:ext cx="1351996" cy="249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37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L</a:t>
            </a:r>
          </a:p>
        </p:txBody>
      </p:sp>
      <p:sp>
        <p:nvSpPr>
          <p:cNvPr id="11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5904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371474" y="1016002"/>
            <a:ext cx="5629275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11544555" y="6498210"/>
            <a:ext cx="645858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371476" y="35496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6" y="360574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0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191250" y="2076449"/>
            <a:ext cx="5629275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6808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ttangolo 31"/>
          <p:cNvSpPr/>
          <p:nvPr userDrawn="1"/>
        </p:nvSpPr>
        <p:spPr>
          <a:xfrm rot="10800000">
            <a:off x="0" y="6498214"/>
            <a:ext cx="626457" cy="359788"/>
          </a:xfrm>
          <a:prstGeom prst="rect">
            <a:avLst/>
          </a:prstGeom>
          <a:solidFill>
            <a:srgbClr val="EED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33" name="Immagine 32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5410" y="6498250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4" name="Rettangolo 33"/>
          <p:cNvSpPr/>
          <p:nvPr userDrawn="1"/>
        </p:nvSpPr>
        <p:spPr>
          <a:xfrm>
            <a:off x="11448799" y="6498211"/>
            <a:ext cx="97346" cy="35979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5" name="Rettangolo 34"/>
          <p:cNvSpPr/>
          <p:nvPr userDrawn="1"/>
        </p:nvSpPr>
        <p:spPr>
          <a:xfrm>
            <a:off x="11546142" y="6498208"/>
            <a:ext cx="645858" cy="359794"/>
          </a:xfrm>
          <a:prstGeom prst="rect">
            <a:avLst/>
          </a:prstGeom>
          <a:solidFill>
            <a:srgbClr val="0047B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6" name="Segnaposto numero diapositiva 5"/>
          <p:cNvSpPr txBox="1">
            <a:spLocks/>
          </p:cNvSpPr>
          <p:nvPr userDrawn="1"/>
        </p:nvSpPr>
        <p:spPr>
          <a:xfrm>
            <a:off x="11544555" y="6498249"/>
            <a:ext cx="645858" cy="359791"/>
          </a:xfrm>
          <a:prstGeom prst="rect">
            <a:avLst/>
          </a:prstGeom>
          <a:solidFill>
            <a:srgbClr val="666666"/>
          </a:solidFill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B87FA73C-A7EE-4241-A631-441DFD16C2EB}" type="slidenum">
              <a:rPr lang="it-IT" sz="900" smtClean="0">
                <a:solidFill>
                  <a:prstClr val="white"/>
                </a:solidFill>
                <a:latin typeface="Arial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7" name="Rettangolo 36"/>
          <p:cNvSpPr/>
          <p:nvPr userDrawn="1"/>
        </p:nvSpPr>
        <p:spPr>
          <a:xfrm>
            <a:off x="3196761" y="6498250"/>
            <a:ext cx="8252041" cy="359791"/>
          </a:xfrm>
          <a:prstGeom prst="rect">
            <a:avLst/>
          </a:prstGeom>
          <a:solidFill>
            <a:srgbClr val="EED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8" name="Rettangolo 37"/>
          <p:cNvSpPr/>
          <p:nvPr userDrawn="1"/>
        </p:nvSpPr>
        <p:spPr>
          <a:xfrm rot="10800000">
            <a:off x="0" y="6498214"/>
            <a:ext cx="626457" cy="359788"/>
          </a:xfrm>
          <a:prstGeom prst="rect">
            <a:avLst/>
          </a:prstGeom>
          <a:solidFill>
            <a:srgbClr val="EED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39" name="Immagine 38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5410" y="6498250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0" name="Rettangolo 39"/>
          <p:cNvSpPr/>
          <p:nvPr userDrawn="1"/>
        </p:nvSpPr>
        <p:spPr>
          <a:xfrm>
            <a:off x="11448799" y="6498211"/>
            <a:ext cx="97346" cy="35979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Rettangolo 41"/>
          <p:cNvSpPr/>
          <p:nvPr userDrawn="1"/>
        </p:nvSpPr>
        <p:spPr>
          <a:xfrm rot="10800000">
            <a:off x="0" y="6498214"/>
            <a:ext cx="626457" cy="359788"/>
          </a:xfrm>
          <a:prstGeom prst="rect">
            <a:avLst/>
          </a:prstGeom>
          <a:solidFill>
            <a:srgbClr val="EFDC0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3" name="Rettangolo 42"/>
          <p:cNvSpPr/>
          <p:nvPr userDrawn="1"/>
        </p:nvSpPr>
        <p:spPr>
          <a:xfrm>
            <a:off x="11448800" y="6498211"/>
            <a:ext cx="97346" cy="35979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5" name="Immagine 44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5391" y="6497640"/>
            <a:ext cx="2375611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0" name="Rectangle 53"/>
          <p:cNvSpPr>
            <a:spLocks noGrp="1" noChangeArrowheads="1"/>
          </p:cNvSpPr>
          <p:nvPr>
            <p:ph type="title"/>
          </p:nvPr>
        </p:nvSpPr>
        <p:spPr bwMode="auto">
          <a:xfrm>
            <a:off x="172488" y="123948"/>
            <a:ext cx="11276308" cy="424732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>
              <a:defRPr lang="it-IT" altLang="it-IT" sz="2400" b="1" dirty="0" smtClean="0">
                <a:solidFill>
                  <a:srgbClr val="0047BB"/>
                </a:solidFill>
                <a:latin typeface="Arial" panose="020B0604020202020204" pitchFamily="34" charset="0"/>
                <a:ea typeface="Nexa Bold" charset="0"/>
                <a:cs typeface="Arial" panose="020B0604020202020204" pitchFamily="34" charset="0"/>
              </a:defRPr>
            </a:lvl1pPr>
          </a:lstStyle>
          <a:p>
            <a:pPr lvl="0" algn="l" defTabSz="742950" fontAlgn="auto">
              <a:lnSpc>
                <a:spcPct val="90000"/>
              </a:lnSpc>
              <a:spcAft>
                <a:spcPts val="0"/>
              </a:spcAft>
            </a:pPr>
            <a:r>
              <a:rPr lang="it-IT" altLang="it-IT" dirty="0"/>
              <a:t>Fare clic per modificare stile</a:t>
            </a:r>
          </a:p>
        </p:txBody>
      </p:sp>
      <p:sp>
        <p:nvSpPr>
          <p:cNvPr id="17" name="Rettangolo 16"/>
          <p:cNvSpPr/>
          <p:nvPr userDrawn="1"/>
        </p:nvSpPr>
        <p:spPr>
          <a:xfrm>
            <a:off x="3255078" y="6579130"/>
            <a:ext cx="6096001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sz="800" dirty="0">
                <a:solidFill>
                  <a:srgbClr val="70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CL – IPS – </a:t>
            </a:r>
            <a:r>
              <a:rPr lang="it-IT" sz="800" dirty="0" err="1">
                <a:solidFill>
                  <a:srgbClr val="70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</a:t>
            </a:r>
            <a:r>
              <a:rPr lang="it-IT" sz="800" dirty="0">
                <a:solidFill>
                  <a:srgbClr val="70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05494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3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75"/>
              </a:spcBef>
            </a:pPr>
            <a:fld id="{81D60167-4931-47E6-BA6A-407CBD079E47}" type="slidenum">
              <a:rPr spc="25" dirty="0"/>
              <a:t>‹N›</a:t>
            </a:fld>
            <a:endParaRPr spc="25" dirty="0"/>
          </a:p>
        </p:txBody>
      </p:sp>
    </p:spTree>
    <p:extLst>
      <p:ext uri="{BB962C8B-B14F-4D97-AF65-F5344CB8AC3E}">
        <p14:creationId xmlns:p14="http://schemas.microsoft.com/office/powerpoint/2010/main" val="38933408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544555" y="6498208"/>
            <a:ext cx="645858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371476" y="35496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360572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0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154453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058258" y="1457044"/>
            <a:ext cx="9559552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1058563" y="3336998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3" y="4984823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/>
          <p:cNvCxnSpPr/>
          <p:nvPr userDrawn="1"/>
        </p:nvCxnSpPr>
        <p:spPr>
          <a:xfrm>
            <a:off x="1058563" y="3336998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 userDrawn="1"/>
        </p:nvCxnSpPr>
        <p:spPr>
          <a:xfrm>
            <a:off x="1058563" y="4984823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924773" y="1327193"/>
            <a:ext cx="0" cy="3657631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7" y="6498209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3" name="Sottotitolo 2">
            <a:extLst>
              <a:ext uri="{FF2B5EF4-FFF2-40B4-BE49-F238E27FC236}">
                <a16:creationId xmlns:a16="http://schemas.microsoft.com/office/drawing/2014/main" id="{0117A01B-A6FD-418A-BA40-A36A80E850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3" y="3675614"/>
            <a:ext cx="9559552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49" b="1" cap="all" baseline="0">
                <a:solidFill>
                  <a:srgbClr val="0047BB"/>
                </a:solidFill>
              </a:defRPr>
            </a:lvl1pPr>
            <a:lvl2pPr marL="371341" indent="0" algn="ctr">
              <a:buNone/>
              <a:defRPr sz="1625"/>
            </a:lvl2pPr>
            <a:lvl3pPr marL="742682" indent="0" algn="ctr">
              <a:buNone/>
              <a:defRPr sz="1462"/>
            </a:lvl3pPr>
            <a:lvl4pPr marL="1114023" indent="0" algn="ctr">
              <a:buNone/>
              <a:defRPr sz="1300"/>
            </a:lvl4pPr>
            <a:lvl5pPr marL="1485363" indent="0" algn="ctr">
              <a:buNone/>
              <a:defRPr sz="1300"/>
            </a:lvl5pPr>
            <a:lvl6pPr marL="1856704" indent="0" algn="ctr">
              <a:buNone/>
              <a:defRPr sz="1300"/>
            </a:lvl6pPr>
            <a:lvl7pPr marL="2228045" indent="0" algn="ctr">
              <a:buNone/>
              <a:defRPr sz="1300"/>
            </a:lvl7pPr>
            <a:lvl8pPr marL="2599386" indent="0" algn="ctr">
              <a:buNone/>
              <a:defRPr sz="1300"/>
            </a:lvl8pPr>
            <a:lvl9pPr marL="2970727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14" name="Segnaposto testo 23">
            <a:extLst>
              <a:ext uri="{FF2B5EF4-FFF2-40B4-BE49-F238E27FC236}">
                <a16:creationId xmlns:a16="http://schemas.microsoft.com/office/drawing/2014/main" id="{A0A51B1F-AE13-48D1-9D5F-8604F053F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58" y="4321473"/>
            <a:ext cx="9559552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dirty="0" smtClean="0">
                <a:solidFill>
                  <a:srgbClr val="0047BB"/>
                </a:solidFill>
              </a:defRPr>
            </a:lvl1pPr>
          </a:lstStyle>
          <a:p>
            <a:pPr marL="185671" lvl="0" indent="-185671"/>
            <a:r>
              <a:rPr lang="it-IT"/>
              <a:t>NOTE</a:t>
            </a:r>
          </a:p>
        </p:txBody>
      </p:sp>
      <p:sp>
        <p:nvSpPr>
          <p:cNvPr id="30" name="object 4">
            <a:extLst>
              <a:ext uri="{FF2B5EF4-FFF2-40B4-BE49-F238E27FC236}">
                <a16:creationId xmlns:a16="http://schemas.microsoft.com/office/drawing/2014/main" id="{035E9254-8C6A-40F3-B720-3405317B082A}"/>
              </a:ext>
            </a:extLst>
          </p:cNvPr>
          <p:cNvSpPr/>
          <p:nvPr userDrawn="1"/>
        </p:nvSpPr>
        <p:spPr>
          <a:xfrm>
            <a:off x="11838775" y="6517486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3" name="object 3">
            <a:extLst>
              <a:ext uri="{FF2B5EF4-FFF2-40B4-BE49-F238E27FC236}">
                <a16:creationId xmlns:a16="http://schemas.microsoft.com/office/drawing/2014/main" id="{92F9B3AF-E47A-4356-AFC3-3E84227DF268}"/>
              </a:ext>
            </a:extLst>
          </p:cNvPr>
          <p:cNvSpPr/>
          <p:nvPr userDrawn="1"/>
        </p:nvSpPr>
        <p:spPr>
          <a:xfrm>
            <a:off x="11103686" y="6517486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4" name="Segnaposto numero diapositiva 5">
            <a:extLst>
              <a:ext uri="{FF2B5EF4-FFF2-40B4-BE49-F238E27FC236}">
                <a16:creationId xmlns:a16="http://schemas.microsoft.com/office/drawing/2014/main" id="{3A1EB98E-1340-4BE6-B34B-EC92E04328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45799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ttore diritto 16"/>
          <p:cNvCxnSpPr/>
          <p:nvPr/>
        </p:nvCxnSpPr>
        <p:spPr>
          <a:xfrm>
            <a:off x="1058563" y="3336998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3" y="4984823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2073870" y="961378"/>
            <a:ext cx="9559552" cy="49352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2436"/>
              </a:spcAft>
              <a:buClr>
                <a:srgbClr val="0047BB"/>
              </a:buClr>
              <a:buFont typeface="Arial" panose="020B0604020202020204" pitchFamily="34" charset="0"/>
              <a:buNone/>
              <a:tabLst/>
              <a:defRPr lang="it-IT" sz="2599" b="1" baseline="0" dirty="0" smtClean="0">
                <a:solidFill>
                  <a:srgbClr val="0047BB"/>
                </a:solidFill>
              </a:defRPr>
            </a:lvl1pPr>
          </a:lstStyle>
          <a:p>
            <a:pPr marL="185671" lvl="0" indent="-185671"/>
            <a:r>
              <a:rPr lang="it-IT"/>
              <a:t>Elenco (BLU1 per selezione, altrimenti GRIGIO2)</a:t>
            </a:r>
          </a:p>
        </p:txBody>
      </p:sp>
      <p:cxnSp>
        <p:nvCxnSpPr>
          <p:cNvPr id="19" name="Connettore diritto 18"/>
          <p:cNvCxnSpPr/>
          <p:nvPr userDrawn="1"/>
        </p:nvCxnSpPr>
        <p:spPr>
          <a:xfrm>
            <a:off x="1058563" y="4984823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1566217" y="961378"/>
            <a:ext cx="133482" cy="4935245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7" y="6498209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082C6C94-8C69-4E3A-9C55-EE3F67EA6C5F}"/>
              </a:ext>
            </a:extLst>
          </p:cNvPr>
          <p:cNvSpPr/>
          <p:nvPr userDrawn="1"/>
        </p:nvSpPr>
        <p:spPr>
          <a:xfrm>
            <a:off x="2" y="659082"/>
            <a:ext cx="12191998" cy="201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12" name="Segnaposto numero diapositiva 5">
            <a:extLst>
              <a:ext uri="{FF2B5EF4-FFF2-40B4-BE49-F238E27FC236}">
                <a16:creationId xmlns:a16="http://schemas.microsoft.com/office/drawing/2014/main" id="{1A8EC7E8-A38B-4D94-87EC-5133A081A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29423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4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2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FF92DF1-B9F1-40F4-9CED-165999920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123533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4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04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2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1" lvl="0" indent="-185671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13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3" y="5472117"/>
            <a:ext cx="10958512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2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egnaposto numero diapositiva 5">
            <a:extLst>
              <a:ext uri="{FF2B5EF4-FFF2-40B4-BE49-F238E27FC236}">
                <a16:creationId xmlns:a16="http://schemas.microsoft.com/office/drawing/2014/main" id="{BB4CCFAD-9DFB-4DEE-9716-0C25BCD10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019568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458562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1" lvl="0" indent="-185671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C40DECBE-50B2-4E48-AC18-DA2E585F3103}"/>
              </a:ext>
            </a:extLst>
          </p:cNvPr>
          <p:cNvCxnSpPr/>
          <p:nvPr userDrawn="1"/>
        </p:nvCxnSpPr>
        <p:spPr>
          <a:xfrm>
            <a:off x="371475" y="114304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3" y="5472117"/>
            <a:ext cx="10958512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sp>
        <p:nvSpPr>
          <p:cNvPr id="15" name="Segnaposto testo 6"/>
          <p:cNvSpPr>
            <a:spLocks noGrp="1"/>
          </p:cNvSpPr>
          <p:nvPr>
            <p:ph type="body" sz="quarter" idx="28" hasCustomPrompt="1"/>
          </p:nvPr>
        </p:nvSpPr>
        <p:spPr>
          <a:xfrm>
            <a:off x="2127904" y="6604000"/>
            <a:ext cx="8505826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41" indent="0">
              <a:buNone/>
              <a:defRPr sz="853"/>
            </a:lvl2pPr>
            <a:lvl3pPr marL="742682" indent="0">
              <a:buNone/>
              <a:defRPr sz="812"/>
            </a:lvl3pPr>
            <a:lvl4pPr marL="1114023" indent="0">
              <a:buNone/>
              <a:defRPr sz="731"/>
            </a:lvl4pPr>
            <a:lvl5pPr marL="1485363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2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numero diapositiva 5">
            <a:extLst>
              <a:ext uri="{FF2B5EF4-FFF2-40B4-BE49-F238E27FC236}">
                <a16:creationId xmlns:a16="http://schemas.microsoft.com/office/drawing/2014/main" id="{56AEC7EB-D28E-4237-A760-946BCDD8E7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31944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D11A86C8-B780-4985-B34D-A7740EEB3A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37420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/>
          <p:cNvCxnSpPr/>
          <p:nvPr userDrawn="1"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3" name="Sottotitolo 2">
            <a:extLst>
              <a:ext uri="{FF2B5EF4-FFF2-40B4-BE49-F238E27FC236}">
                <a16:creationId xmlns:a16="http://schemas.microsoft.com/office/drawing/2014/main" id="{0117A01B-A6FD-418A-BA40-A36A80E850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14" name="Segnaposto testo 23">
            <a:extLst>
              <a:ext uri="{FF2B5EF4-FFF2-40B4-BE49-F238E27FC236}">
                <a16:creationId xmlns:a16="http://schemas.microsoft.com/office/drawing/2014/main" id="{A0A51B1F-AE13-48D1-9D5F-8604F053F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NOTE</a:t>
            </a:r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0512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371475" y="1016000"/>
            <a:ext cx="11449050" cy="4060826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999" dirty="0" smtClean="0">
                <a:solidFill>
                  <a:srgbClr val="0047BB"/>
                </a:solidFill>
              </a:defRPr>
            </a:lvl1pPr>
            <a:lvl2pPr>
              <a:buClr>
                <a:srgbClr val="707173"/>
              </a:buClr>
              <a:defRPr lang="it-IT" sz="1799" dirty="0" smtClean="0">
                <a:solidFill>
                  <a:srgbClr val="0047BB"/>
                </a:solidFill>
              </a:defRPr>
            </a:lvl2pPr>
            <a:lvl3pPr marL="1076217" indent="-161908">
              <a:buClr>
                <a:srgbClr val="707173"/>
              </a:buClr>
              <a:defRPr lang="it-IT" sz="1600" dirty="0" smtClean="0">
                <a:solidFill>
                  <a:srgbClr val="0047BB"/>
                </a:solidFill>
              </a:defRPr>
            </a:lvl3pPr>
            <a:lvl4pPr marL="1523848" indent="-152384">
              <a:buClr>
                <a:srgbClr val="707173"/>
              </a:buClr>
              <a:defRPr lang="it-IT" sz="1400" dirty="0" smtClean="0">
                <a:solidFill>
                  <a:srgbClr val="0047BB"/>
                </a:solidFill>
              </a:defRPr>
            </a:lvl4pPr>
            <a:lvl5pPr marL="1971477" indent="-142861">
              <a:buClr>
                <a:srgbClr val="707173"/>
              </a:buClr>
              <a:defRPr lang="it-IT" sz="1400" dirty="0">
                <a:solidFill>
                  <a:srgbClr val="0047BB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999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8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799" cap="none" baseline="0" dirty="0">
                <a:solidFill>
                  <a:schemeClr val="tx2"/>
                </a:solidFill>
              </a:defRPr>
            </a:lvl1pPr>
          </a:lstStyle>
          <a:p>
            <a:pPr marL="228577" lvl="0" indent="-228577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0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egnaposto numero diapositiva 5">
            <a:extLst>
              <a:ext uri="{FF2B5EF4-FFF2-40B4-BE49-F238E27FC236}">
                <a16:creationId xmlns:a16="http://schemas.microsoft.com/office/drawing/2014/main" id="{08468931-7831-438C-BC3E-B96D23939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371709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360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G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olo 1">
            <a:extLst>
              <a:ext uri="{FF2B5EF4-FFF2-40B4-BE49-F238E27FC236}">
                <a16:creationId xmlns:a16="http://schemas.microsoft.com/office/drawing/2014/main" id="{D32E7196-8556-489D-BF5F-EA5336D8D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6" name="Sottotitolo 2">
            <a:extLst>
              <a:ext uri="{FF2B5EF4-FFF2-40B4-BE49-F238E27FC236}">
                <a16:creationId xmlns:a16="http://schemas.microsoft.com/office/drawing/2014/main" id="{D6BBD262-1CB0-4156-A491-E1942DE70F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39" name="Segnaposto testo 23">
            <a:extLst>
              <a:ext uri="{FF2B5EF4-FFF2-40B4-BE49-F238E27FC236}">
                <a16:creationId xmlns:a16="http://schemas.microsoft.com/office/drawing/2014/main" id="{1D5EDDEF-CC6E-4E4B-99BF-8DF642C8C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Roma, gg mese </a:t>
            </a:r>
            <a:r>
              <a:rPr lang="it-IT" err="1"/>
              <a:t>aaaa</a:t>
            </a:r>
            <a:endParaRPr lang="it-IT"/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18A30A7B-4D87-4C7D-9158-83DEABF90320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43" name="Connettore diritto 42">
              <a:extLst>
                <a:ext uri="{FF2B5EF4-FFF2-40B4-BE49-F238E27FC236}">
                  <a16:creationId xmlns:a16="http://schemas.microsoft.com/office/drawing/2014/main" id="{AF30C1F0-C558-4119-AC8D-21A7E20ADD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diritto 43">
              <a:extLst>
                <a:ext uri="{FF2B5EF4-FFF2-40B4-BE49-F238E27FC236}">
                  <a16:creationId xmlns:a16="http://schemas.microsoft.com/office/drawing/2014/main" id="{A1E7D8DC-648D-410E-92E4-7A8D2CF5E7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7">
            <a:extLst>
              <a:ext uri="{FF2B5EF4-FFF2-40B4-BE49-F238E27FC236}">
                <a16:creationId xmlns:a16="http://schemas.microsoft.com/office/drawing/2014/main" id="{8A15406B-7343-477D-97E3-55DBB9AD0A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90911" y="6382258"/>
            <a:ext cx="1351996" cy="249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37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L</a:t>
            </a:r>
          </a:p>
        </p:txBody>
      </p:sp>
      <p:sp>
        <p:nvSpPr>
          <p:cNvPr id="11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9040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/>
          <p:cNvCxnSpPr/>
          <p:nvPr userDrawn="1"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Sottotitolo 2">
            <a:extLst>
              <a:ext uri="{FF2B5EF4-FFF2-40B4-BE49-F238E27FC236}">
                <a16:creationId xmlns:a16="http://schemas.microsoft.com/office/drawing/2014/main" id="{0117A01B-A6FD-418A-BA40-A36A80E850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14" name="Segnaposto testo 23">
            <a:extLst>
              <a:ext uri="{FF2B5EF4-FFF2-40B4-BE49-F238E27FC236}">
                <a16:creationId xmlns:a16="http://schemas.microsoft.com/office/drawing/2014/main" id="{A0A51B1F-AE13-48D1-9D5F-8604F053F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NOTE</a:t>
            </a:r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  <p:pic>
        <p:nvPicPr>
          <p:cNvPr id="21" name="Immagine 20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2" name="Rectangle 17">
            <a:extLst>
              <a:ext uri="{FF2B5EF4-FFF2-40B4-BE49-F238E27FC236}">
                <a16:creationId xmlns:a16="http://schemas.microsoft.com/office/drawing/2014/main" id="{17243E7F-85A4-4147-93CD-5F4A91203DC2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9942334" y="4547567"/>
            <a:ext cx="4248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ZIONI RISERVATE EX ART.7 CCNL 23 GIU 2021</a:t>
            </a:r>
          </a:p>
        </p:txBody>
      </p:sp>
    </p:spTree>
    <p:extLst>
      <p:ext uri="{BB962C8B-B14F-4D97-AF65-F5344CB8AC3E}">
        <p14:creationId xmlns:p14="http://schemas.microsoft.com/office/powerpoint/2010/main" val="399778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2073872" y="961378"/>
            <a:ext cx="9559551" cy="49352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2437"/>
              </a:spcAft>
              <a:buClr>
                <a:srgbClr val="0047BB"/>
              </a:buClr>
              <a:buFont typeface="Arial" panose="020B0604020202020204" pitchFamily="34" charset="0"/>
              <a:buNone/>
              <a:tabLst/>
              <a:defRPr lang="it-IT" sz="2599" b="1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Elenco (BLU1 per selezione, altrimenti GRIGIO2)</a:t>
            </a:r>
          </a:p>
        </p:txBody>
      </p: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1566217" y="961378"/>
            <a:ext cx="133483" cy="4935245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ttangolo 1">
            <a:extLst>
              <a:ext uri="{FF2B5EF4-FFF2-40B4-BE49-F238E27FC236}">
                <a16:creationId xmlns:a16="http://schemas.microsoft.com/office/drawing/2014/main" id="{082C6C94-8C69-4E3A-9C55-EE3F67EA6C5F}"/>
              </a:ext>
            </a:extLst>
          </p:cNvPr>
          <p:cNvSpPr/>
          <p:nvPr userDrawn="1"/>
        </p:nvSpPr>
        <p:spPr>
          <a:xfrm>
            <a:off x="8" y="659128"/>
            <a:ext cx="12191999" cy="201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56725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461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magine 9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3" name="Rectangle 17">
            <a:extLst>
              <a:ext uri="{FF2B5EF4-FFF2-40B4-BE49-F238E27FC236}">
                <a16:creationId xmlns:a16="http://schemas.microsoft.com/office/drawing/2014/main" id="{17243E7F-85A4-4147-93CD-5F4A91203DC2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9942334" y="4547567"/>
            <a:ext cx="4248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ZIONI RISERVATE EX ART.7 CCNL 23 GIU 2021</a:t>
            </a:r>
          </a:p>
        </p:txBody>
      </p:sp>
    </p:spTree>
    <p:extLst>
      <p:ext uri="{BB962C8B-B14F-4D97-AF65-F5344CB8AC3E}">
        <p14:creationId xmlns:p14="http://schemas.microsoft.com/office/powerpoint/2010/main" val="1534854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9780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371475" y="1016000"/>
            <a:ext cx="11449050" cy="4060826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2000" dirty="0" smtClean="0">
                <a:solidFill>
                  <a:srgbClr val="0047BB"/>
                </a:solidFill>
              </a:defRPr>
            </a:lvl1pPr>
            <a:lvl2pPr>
              <a:buClr>
                <a:srgbClr val="707173"/>
              </a:buClr>
              <a:defRPr lang="it-IT" sz="1800" dirty="0" smtClean="0">
                <a:solidFill>
                  <a:srgbClr val="0047BB"/>
                </a:solidFill>
              </a:defRPr>
            </a:lvl2pPr>
            <a:lvl3pPr marL="1076325" indent="-161925">
              <a:buClr>
                <a:srgbClr val="707173"/>
              </a:buClr>
              <a:defRPr lang="it-IT" sz="1600" dirty="0" smtClean="0">
                <a:solidFill>
                  <a:srgbClr val="0047BB"/>
                </a:solidFill>
              </a:defRPr>
            </a:lvl3pPr>
            <a:lvl4pPr marL="1524000" indent="-152400">
              <a:buClr>
                <a:srgbClr val="707173"/>
              </a:buClr>
              <a:defRPr lang="it-IT" sz="1400" dirty="0" smtClean="0">
                <a:solidFill>
                  <a:srgbClr val="0047BB"/>
                </a:solidFill>
              </a:defRPr>
            </a:lvl4pPr>
            <a:lvl5pPr marL="1971675" indent="-142875">
              <a:buClr>
                <a:srgbClr val="707173"/>
              </a:buClr>
              <a:defRPr lang="it-IT" sz="1400" dirty="0">
                <a:solidFill>
                  <a:srgbClr val="0047BB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7" y="6500813"/>
            <a:ext cx="645858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0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6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8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59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800" cap="none" baseline="0" dirty="0">
                <a:solidFill>
                  <a:schemeClr val="tx2"/>
                </a:solidFill>
              </a:defRPr>
            </a:lvl1pPr>
          </a:lstStyle>
          <a:p>
            <a:pPr marL="228600" lvl="0" indent="-228600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14" name="Segnaposto testo 6"/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3999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100" i="1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2" y="5472113"/>
            <a:ext cx="10958512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0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14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G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EE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75"/>
          </a:p>
        </p:txBody>
      </p:sp>
      <p:sp>
        <p:nvSpPr>
          <p:cNvPr id="35" name="Titolo 1">
            <a:extLst>
              <a:ext uri="{FF2B5EF4-FFF2-40B4-BE49-F238E27FC236}">
                <a16:creationId xmlns:a16="http://schemas.microsoft.com/office/drawing/2014/main" id="{D32E7196-8556-489D-BF5F-EA5336D8D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6" name="Sottotitolo 2">
            <a:extLst>
              <a:ext uri="{FF2B5EF4-FFF2-40B4-BE49-F238E27FC236}">
                <a16:creationId xmlns:a16="http://schemas.microsoft.com/office/drawing/2014/main" id="{D6BBD262-1CB0-4156-A491-E1942DE70F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39" name="Segnaposto testo 23">
            <a:extLst>
              <a:ext uri="{FF2B5EF4-FFF2-40B4-BE49-F238E27FC236}">
                <a16:creationId xmlns:a16="http://schemas.microsoft.com/office/drawing/2014/main" id="{1D5EDDEF-CC6E-4E4B-99BF-8DF642C8C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Roma, gg mese </a:t>
            </a:r>
            <a:r>
              <a:rPr lang="it-IT" err="1"/>
              <a:t>aaaa</a:t>
            </a:r>
            <a:endParaRPr lang="it-IT"/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18A30A7B-4D87-4C7D-9158-83DEABF90320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43" name="Connettore diritto 42">
              <a:extLst>
                <a:ext uri="{FF2B5EF4-FFF2-40B4-BE49-F238E27FC236}">
                  <a16:creationId xmlns:a16="http://schemas.microsoft.com/office/drawing/2014/main" id="{AF30C1F0-C558-4119-AC8D-21A7E20ADD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diritto 43">
              <a:extLst>
                <a:ext uri="{FF2B5EF4-FFF2-40B4-BE49-F238E27FC236}">
                  <a16:creationId xmlns:a16="http://schemas.microsoft.com/office/drawing/2014/main" id="{A1E7D8DC-648D-410E-92E4-7A8D2CF5E7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Immagine 11" descr="PI_logo_o_RGB_p.jpg">
            <a:extLst>
              <a:ext uri="{FF2B5EF4-FFF2-40B4-BE49-F238E27FC236}">
                <a16:creationId xmlns:a16="http://schemas.microsoft.com/office/drawing/2014/main" id="{F5102C9E-374B-4840-B046-87F7CA8822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4" name="Rectangle 17">
            <a:extLst>
              <a:ext uri="{FF2B5EF4-FFF2-40B4-BE49-F238E27FC236}">
                <a16:creationId xmlns:a16="http://schemas.microsoft.com/office/drawing/2014/main" id="{8A15406B-7343-477D-97E3-55DBB9AD0A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90911" y="6382258"/>
            <a:ext cx="1351996" cy="249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37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L</a:t>
            </a:r>
          </a:p>
        </p:txBody>
      </p:sp>
      <p:sp>
        <p:nvSpPr>
          <p:cNvPr id="11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58274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2073872" y="961378"/>
            <a:ext cx="9559551" cy="49352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2437"/>
              </a:spcAft>
              <a:buClr>
                <a:srgbClr val="0047BB"/>
              </a:buClr>
              <a:buFont typeface="Arial" panose="020B0604020202020204" pitchFamily="34" charset="0"/>
              <a:buNone/>
              <a:tabLst/>
              <a:defRPr lang="it-IT" sz="2599" b="1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Elenco (BLU1 per selezione, altrimenti GRIGIO2)</a:t>
            </a:r>
          </a:p>
        </p:txBody>
      </p: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1566217" y="961378"/>
            <a:ext cx="133483" cy="4935245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082C6C94-8C69-4E3A-9C55-EE3F67EA6C5F}"/>
              </a:ext>
            </a:extLst>
          </p:cNvPr>
          <p:cNvSpPr/>
          <p:nvPr userDrawn="1"/>
        </p:nvSpPr>
        <p:spPr>
          <a:xfrm>
            <a:off x="8" y="659128"/>
            <a:ext cx="12191999" cy="201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68200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/>
          <p:cNvCxnSpPr/>
          <p:nvPr userDrawn="1"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3" name="Sottotitolo 2">
            <a:extLst>
              <a:ext uri="{FF2B5EF4-FFF2-40B4-BE49-F238E27FC236}">
                <a16:creationId xmlns:a16="http://schemas.microsoft.com/office/drawing/2014/main" id="{0117A01B-A6FD-418A-BA40-A36A80E850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14" name="Segnaposto testo 23">
            <a:extLst>
              <a:ext uri="{FF2B5EF4-FFF2-40B4-BE49-F238E27FC236}">
                <a16:creationId xmlns:a16="http://schemas.microsoft.com/office/drawing/2014/main" id="{A0A51B1F-AE13-48D1-9D5F-8604F053F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NOTE</a:t>
            </a:r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7493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2073872" y="961378"/>
            <a:ext cx="9559551" cy="49352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2437"/>
              </a:spcAft>
              <a:buClr>
                <a:srgbClr val="0047BB"/>
              </a:buClr>
              <a:buFont typeface="Arial" panose="020B0604020202020204" pitchFamily="34" charset="0"/>
              <a:buNone/>
              <a:tabLst/>
              <a:defRPr lang="it-IT" sz="2599" b="1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Elenco (BLU1 per selezione, altrimenti GRIGIO2)</a:t>
            </a:r>
          </a:p>
        </p:txBody>
      </p: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1566217" y="961378"/>
            <a:ext cx="133483" cy="4935245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082C6C94-8C69-4E3A-9C55-EE3F67EA6C5F}"/>
              </a:ext>
            </a:extLst>
          </p:cNvPr>
          <p:cNvSpPr/>
          <p:nvPr userDrawn="1"/>
        </p:nvSpPr>
        <p:spPr>
          <a:xfrm>
            <a:off x="8" y="659128"/>
            <a:ext cx="12191999" cy="201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26914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887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521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371475" y="1016000"/>
            <a:ext cx="11449050" cy="4060826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2000" dirty="0" smtClean="0">
                <a:solidFill>
                  <a:srgbClr val="0047BB"/>
                </a:solidFill>
              </a:defRPr>
            </a:lvl1pPr>
            <a:lvl2pPr>
              <a:buClr>
                <a:srgbClr val="707173"/>
              </a:buClr>
              <a:defRPr lang="it-IT" sz="1800" dirty="0" smtClean="0">
                <a:solidFill>
                  <a:srgbClr val="0047BB"/>
                </a:solidFill>
              </a:defRPr>
            </a:lvl2pPr>
            <a:lvl3pPr marL="1076325" indent="-161925">
              <a:buClr>
                <a:srgbClr val="707173"/>
              </a:buClr>
              <a:defRPr lang="it-IT" sz="1600" dirty="0" smtClean="0">
                <a:solidFill>
                  <a:srgbClr val="0047BB"/>
                </a:solidFill>
              </a:defRPr>
            </a:lvl3pPr>
            <a:lvl4pPr marL="1524000" indent="-152400">
              <a:buClr>
                <a:srgbClr val="707173"/>
              </a:buClr>
              <a:defRPr lang="it-IT" sz="1400" dirty="0" smtClean="0">
                <a:solidFill>
                  <a:srgbClr val="0047BB"/>
                </a:solidFill>
              </a:defRPr>
            </a:lvl4pPr>
            <a:lvl5pPr marL="1971675" indent="-142875">
              <a:buClr>
                <a:srgbClr val="707173"/>
              </a:buClr>
              <a:defRPr lang="it-IT" sz="1400" dirty="0">
                <a:solidFill>
                  <a:srgbClr val="0047BB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7" y="6500813"/>
            <a:ext cx="645858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0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6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8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59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800" cap="none" baseline="0" dirty="0">
                <a:solidFill>
                  <a:schemeClr val="tx2"/>
                </a:solidFill>
              </a:defRPr>
            </a:lvl1pPr>
          </a:lstStyle>
          <a:p>
            <a:pPr marL="228600" lvl="0" indent="-228600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14" name="Segnaposto testo 6"/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3999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100" i="1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2" y="5472113"/>
            <a:ext cx="10958512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0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8352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6" y="6500814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04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00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13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2" y="5472114"/>
            <a:ext cx="10958513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12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E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it-IT">
              <a:solidFill>
                <a:prstClr val="white"/>
              </a:solidFill>
            </a:endParaRPr>
          </a:p>
        </p:txBody>
      </p:sp>
      <p:sp>
        <p:nvSpPr>
          <p:cNvPr id="35" name="Titolo 1">
            <a:extLst>
              <a:ext uri="{FF2B5EF4-FFF2-40B4-BE49-F238E27FC236}">
                <a16:creationId xmlns:a16="http://schemas.microsoft.com/office/drawing/2014/main" id="{D32E7196-8556-489D-BF5F-EA5336D8D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8255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4800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6" name="Sottotitolo 2">
            <a:extLst>
              <a:ext uri="{FF2B5EF4-FFF2-40B4-BE49-F238E27FC236}">
                <a16:creationId xmlns:a16="http://schemas.microsoft.com/office/drawing/2014/main" id="{D6BBD262-1CB0-4156-A491-E1942DE70F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1" y="3675611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2400" b="1" cap="all" baseline="0">
                <a:solidFill>
                  <a:srgbClr val="0047B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39" name="Segnaposto testo 23">
            <a:extLst>
              <a:ext uri="{FF2B5EF4-FFF2-40B4-BE49-F238E27FC236}">
                <a16:creationId xmlns:a16="http://schemas.microsoft.com/office/drawing/2014/main" id="{1D5EDDEF-CC6E-4E4B-99BF-8DF642C8C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55" y="4321469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800" dirty="0" smtClean="0">
                <a:solidFill>
                  <a:srgbClr val="0047BB"/>
                </a:solidFill>
              </a:defRPr>
            </a:lvl1pPr>
          </a:lstStyle>
          <a:p>
            <a:pPr marL="228600" lvl="0" indent="-228600"/>
            <a:r>
              <a:rPr lang="it-IT"/>
              <a:t>NOTE</a:t>
            </a:r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18A30A7B-4D87-4C7D-9158-83DEABF90320}"/>
              </a:ext>
            </a:extLst>
          </p:cNvPr>
          <p:cNvGrpSpPr/>
          <p:nvPr userDrawn="1"/>
        </p:nvGrpSpPr>
        <p:grpSpPr>
          <a:xfrm>
            <a:off x="924773" y="1327192"/>
            <a:ext cx="0" cy="3657631"/>
            <a:chOff x="492973" y="1455420"/>
            <a:chExt cx="0" cy="3657631"/>
          </a:xfrm>
        </p:grpSpPr>
        <p:cxnSp>
          <p:nvCxnSpPr>
            <p:cNvPr id="43" name="Connettore diritto 42">
              <a:extLst>
                <a:ext uri="{FF2B5EF4-FFF2-40B4-BE49-F238E27FC236}">
                  <a16:creationId xmlns:a16="http://schemas.microsoft.com/office/drawing/2014/main" id="{AF30C1F0-C558-4119-AC8D-21A7E20ADD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diritto 43">
              <a:extLst>
                <a:ext uri="{FF2B5EF4-FFF2-40B4-BE49-F238E27FC236}">
                  <a16:creationId xmlns:a16="http://schemas.microsoft.com/office/drawing/2014/main" id="{A1E7D8DC-648D-410E-92E4-7A8D2CF5E7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Immagine 11" descr="PI_logo_o_RGB_p.jpg">
            <a:extLst>
              <a:ext uri="{FF2B5EF4-FFF2-40B4-BE49-F238E27FC236}">
                <a16:creationId xmlns:a16="http://schemas.microsoft.com/office/drawing/2014/main" id="{F5102C9E-374B-4840-B046-87F7CA8822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5" y="6498209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0804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6" y="6500814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289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71476" y="35496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371475" y="1015999"/>
            <a:ext cx="11449050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2000" dirty="0" smtClean="0">
                <a:solidFill>
                  <a:srgbClr val="0047BB"/>
                </a:solidFill>
              </a:defRPr>
            </a:lvl1pPr>
            <a:lvl2pPr>
              <a:buClr>
                <a:srgbClr val="707173"/>
              </a:buClr>
              <a:defRPr lang="it-IT" sz="1800" dirty="0" smtClean="0">
                <a:solidFill>
                  <a:srgbClr val="0047BB"/>
                </a:solidFill>
              </a:defRPr>
            </a:lvl2pPr>
            <a:lvl3pPr marL="1076325" indent="-161925">
              <a:buClr>
                <a:srgbClr val="707173"/>
              </a:buClr>
              <a:defRPr lang="it-IT" sz="1600" dirty="0" smtClean="0">
                <a:solidFill>
                  <a:srgbClr val="0047BB"/>
                </a:solidFill>
              </a:defRPr>
            </a:lvl3pPr>
            <a:lvl4pPr marL="1524000" indent="-152400">
              <a:buClr>
                <a:srgbClr val="707173"/>
              </a:buClr>
              <a:defRPr lang="it-IT" sz="1400" dirty="0" smtClean="0">
                <a:solidFill>
                  <a:srgbClr val="0047BB"/>
                </a:solidFill>
              </a:defRPr>
            </a:lvl4pPr>
            <a:lvl5pPr marL="1971675" indent="-142875">
              <a:buClr>
                <a:srgbClr val="707173"/>
              </a:buClr>
              <a:defRPr lang="it-IT" sz="1400" dirty="0">
                <a:solidFill>
                  <a:srgbClr val="0047BB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360572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7" y="6500813"/>
            <a:ext cx="645858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0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279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C40DECBE-50B2-4E48-AC18-DA2E585F3103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egnaposto numero diapositiva 2">
            <a:extLst>
              <a:ext uri="{FF2B5EF4-FFF2-40B4-BE49-F238E27FC236}">
                <a16:creationId xmlns:a16="http://schemas.microsoft.com/office/drawing/2014/main" id="{35D4FA1A-52F8-442C-8549-744B1C892DC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4192" y="6500814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4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2" y="5472114"/>
            <a:ext cx="10958513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027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192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371474" y="1016002"/>
            <a:ext cx="5629275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11544555" y="6498210"/>
            <a:ext cx="645858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371476" y="35496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6" y="360574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0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191250" y="2076449"/>
            <a:ext cx="5629275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97865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544555" y="6498210"/>
            <a:ext cx="645859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371476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0, </a:t>
            </a:r>
            <a:r>
              <a:rPr lang="it-IT" err="1"/>
              <a:t>bold</a:t>
            </a:r>
            <a:r>
              <a:rPr lang="it-IT"/>
              <a:t>, </a:t>
            </a:r>
            <a:r>
              <a:rPr lang="it-IT" err="1"/>
              <a:t>maius</a:t>
            </a:r>
            <a:r>
              <a:rPr lang="it-IT"/>
              <a:t>.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6" y="360574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398280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ttangolo 31"/>
          <p:cNvSpPr/>
          <p:nvPr userDrawn="1"/>
        </p:nvSpPr>
        <p:spPr>
          <a:xfrm rot="10800000">
            <a:off x="0" y="6498214"/>
            <a:ext cx="626457" cy="359788"/>
          </a:xfrm>
          <a:prstGeom prst="rect">
            <a:avLst/>
          </a:prstGeom>
          <a:solidFill>
            <a:srgbClr val="EED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33" name="Immagine 32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5410" y="6498250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4" name="Rettangolo 33"/>
          <p:cNvSpPr/>
          <p:nvPr userDrawn="1"/>
        </p:nvSpPr>
        <p:spPr>
          <a:xfrm>
            <a:off x="11448799" y="6498211"/>
            <a:ext cx="97346" cy="35979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5" name="Rettangolo 34"/>
          <p:cNvSpPr/>
          <p:nvPr userDrawn="1"/>
        </p:nvSpPr>
        <p:spPr>
          <a:xfrm>
            <a:off x="11546142" y="6498208"/>
            <a:ext cx="645858" cy="359794"/>
          </a:xfrm>
          <a:prstGeom prst="rect">
            <a:avLst/>
          </a:prstGeom>
          <a:solidFill>
            <a:srgbClr val="0047B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6" name="Segnaposto numero diapositiva 5"/>
          <p:cNvSpPr txBox="1">
            <a:spLocks/>
          </p:cNvSpPr>
          <p:nvPr userDrawn="1"/>
        </p:nvSpPr>
        <p:spPr>
          <a:xfrm>
            <a:off x="11544555" y="6498249"/>
            <a:ext cx="645858" cy="359791"/>
          </a:xfrm>
          <a:prstGeom prst="rect">
            <a:avLst/>
          </a:prstGeom>
          <a:solidFill>
            <a:srgbClr val="666666"/>
          </a:solidFill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B87FA73C-A7EE-4241-A631-441DFD16C2EB}" type="slidenum">
              <a:rPr lang="it-IT" sz="900" smtClean="0">
                <a:solidFill>
                  <a:prstClr val="white"/>
                </a:solidFill>
                <a:latin typeface="Arial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sz="900">
              <a:solidFill>
                <a:prstClr val="white"/>
              </a:solidFill>
              <a:latin typeface="Arial"/>
            </a:endParaRPr>
          </a:p>
        </p:txBody>
      </p:sp>
      <p:sp>
        <p:nvSpPr>
          <p:cNvPr id="37" name="Rettangolo 36"/>
          <p:cNvSpPr/>
          <p:nvPr userDrawn="1"/>
        </p:nvSpPr>
        <p:spPr>
          <a:xfrm>
            <a:off x="3196761" y="6498250"/>
            <a:ext cx="8252041" cy="359791"/>
          </a:xfrm>
          <a:prstGeom prst="rect">
            <a:avLst/>
          </a:prstGeom>
          <a:solidFill>
            <a:srgbClr val="EED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8" name="Rettangolo 37"/>
          <p:cNvSpPr/>
          <p:nvPr userDrawn="1"/>
        </p:nvSpPr>
        <p:spPr>
          <a:xfrm rot="10800000">
            <a:off x="0" y="6498214"/>
            <a:ext cx="626457" cy="359788"/>
          </a:xfrm>
          <a:prstGeom prst="rect">
            <a:avLst/>
          </a:prstGeom>
          <a:solidFill>
            <a:srgbClr val="EED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39" name="Immagine 38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5410" y="6498250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0" name="Rettangolo 39"/>
          <p:cNvSpPr/>
          <p:nvPr userDrawn="1"/>
        </p:nvSpPr>
        <p:spPr>
          <a:xfrm>
            <a:off x="11448799" y="6498211"/>
            <a:ext cx="97346" cy="35979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Rettangolo 41"/>
          <p:cNvSpPr/>
          <p:nvPr userDrawn="1"/>
        </p:nvSpPr>
        <p:spPr>
          <a:xfrm rot="10800000">
            <a:off x="0" y="6498214"/>
            <a:ext cx="626457" cy="359788"/>
          </a:xfrm>
          <a:prstGeom prst="rect">
            <a:avLst/>
          </a:prstGeom>
          <a:solidFill>
            <a:srgbClr val="EFDC0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3" name="Rettangolo 42"/>
          <p:cNvSpPr/>
          <p:nvPr userDrawn="1"/>
        </p:nvSpPr>
        <p:spPr>
          <a:xfrm>
            <a:off x="11448800" y="6498211"/>
            <a:ext cx="97346" cy="35979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it-IT" sz="1350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5" name="Immagine 44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5391" y="6497640"/>
            <a:ext cx="2375611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0" name="Rectangle 53"/>
          <p:cNvSpPr>
            <a:spLocks noGrp="1" noChangeArrowheads="1"/>
          </p:cNvSpPr>
          <p:nvPr>
            <p:ph type="title"/>
          </p:nvPr>
        </p:nvSpPr>
        <p:spPr bwMode="auto">
          <a:xfrm>
            <a:off x="172488" y="123948"/>
            <a:ext cx="11276308" cy="424732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>
              <a:defRPr lang="it-IT" altLang="it-IT" sz="2400" b="1" dirty="0" smtClean="0">
                <a:solidFill>
                  <a:srgbClr val="0047BB"/>
                </a:solidFill>
                <a:latin typeface="Arial" panose="020B0604020202020204" pitchFamily="34" charset="0"/>
                <a:ea typeface="Nexa Bold" charset="0"/>
                <a:cs typeface="Arial" panose="020B0604020202020204" pitchFamily="34" charset="0"/>
              </a:defRPr>
            </a:lvl1pPr>
          </a:lstStyle>
          <a:p>
            <a:pPr lvl="0" algn="l" defTabSz="742950" fontAlgn="auto">
              <a:lnSpc>
                <a:spcPct val="90000"/>
              </a:lnSpc>
              <a:spcAft>
                <a:spcPts val="0"/>
              </a:spcAft>
            </a:pPr>
            <a:r>
              <a:rPr lang="it-IT" altLang="it-IT"/>
              <a:t>Fare clic per modificare stile</a:t>
            </a:r>
          </a:p>
        </p:txBody>
      </p:sp>
      <p:sp>
        <p:nvSpPr>
          <p:cNvPr id="17" name="Rettangolo 16"/>
          <p:cNvSpPr/>
          <p:nvPr userDrawn="1"/>
        </p:nvSpPr>
        <p:spPr>
          <a:xfrm>
            <a:off x="3255078" y="6579130"/>
            <a:ext cx="6096001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sz="800">
                <a:solidFill>
                  <a:srgbClr val="70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CL – IPS – </a:t>
            </a:r>
            <a:r>
              <a:rPr lang="it-IT" sz="800" err="1">
                <a:solidFill>
                  <a:srgbClr val="70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</a:t>
            </a:r>
            <a:r>
              <a:rPr lang="it-IT" sz="800">
                <a:solidFill>
                  <a:srgbClr val="70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71716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3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75"/>
              </a:spcBef>
            </a:pPr>
            <a:fld id="{81D60167-4931-47E6-BA6A-407CBD079E47}" type="slidenum">
              <a:rPr spc="25" dirty="0"/>
              <a:t>‹N›</a:t>
            </a:fld>
            <a:endParaRPr spc="25"/>
          </a:p>
        </p:txBody>
      </p:sp>
    </p:spTree>
    <p:extLst>
      <p:ext uri="{BB962C8B-B14F-4D97-AF65-F5344CB8AC3E}">
        <p14:creationId xmlns:p14="http://schemas.microsoft.com/office/powerpoint/2010/main" val="2965749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4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04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2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1" lvl="0" indent="-185671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13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3" y="5472117"/>
            <a:ext cx="10958512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2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egnaposto numero diapositiva 5">
            <a:extLst>
              <a:ext uri="{FF2B5EF4-FFF2-40B4-BE49-F238E27FC236}">
                <a16:creationId xmlns:a16="http://schemas.microsoft.com/office/drawing/2014/main" id="{BB4CCFAD-9DFB-4DEE-9716-0C25BCD10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300960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54786" y="705434"/>
            <a:ext cx="10682427" cy="15805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3/2023</a:t>
            </a:fld>
            <a:endParaRPr lang="en-US"/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AB9529F2-787A-4810-9C0F-4770FD0B6A5E}"/>
              </a:ext>
            </a:extLst>
          </p:cNvPr>
          <p:cNvSpPr/>
          <p:nvPr userDrawn="1"/>
        </p:nvSpPr>
        <p:spPr>
          <a:xfrm>
            <a:off x="11103687" y="6517489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013"/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id="{ADE77F40-999C-41E7-B8D5-29B958BAE942}"/>
              </a:ext>
            </a:extLst>
          </p:cNvPr>
          <p:cNvSpPr/>
          <p:nvPr userDrawn="1"/>
        </p:nvSpPr>
        <p:spPr>
          <a:xfrm>
            <a:off x="11838776" y="6517489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013"/>
          </a:p>
        </p:txBody>
      </p:sp>
      <p:sp>
        <p:nvSpPr>
          <p:cNvPr id="18" name="Segnaposto numero diapositiva 5">
            <a:extLst>
              <a:ext uri="{FF2B5EF4-FFF2-40B4-BE49-F238E27FC236}">
                <a16:creationId xmlns:a16="http://schemas.microsoft.com/office/drawing/2014/main" id="{CC94EA79-BF17-4AC2-A1C9-D22D6C6A1E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48301" y="6498211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241491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G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EE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75"/>
          </a:p>
        </p:txBody>
      </p:sp>
      <p:sp>
        <p:nvSpPr>
          <p:cNvPr id="35" name="Titolo 1">
            <a:extLst>
              <a:ext uri="{FF2B5EF4-FFF2-40B4-BE49-F238E27FC236}">
                <a16:creationId xmlns:a16="http://schemas.microsoft.com/office/drawing/2014/main" id="{D32E7196-8556-489D-BF5F-EA5336D8D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6" name="Sottotitolo 2">
            <a:extLst>
              <a:ext uri="{FF2B5EF4-FFF2-40B4-BE49-F238E27FC236}">
                <a16:creationId xmlns:a16="http://schemas.microsoft.com/office/drawing/2014/main" id="{D6BBD262-1CB0-4156-A491-E1942DE70F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39" name="Segnaposto testo 23">
            <a:extLst>
              <a:ext uri="{FF2B5EF4-FFF2-40B4-BE49-F238E27FC236}">
                <a16:creationId xmlns:a16="http://schemas.microsoft.com/office/drawing/2014/main" id="{1D5EDDEF-CC6E-4E4B-99BF-8DF642C8C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Roma, gg mese </a:t>
            </a:r>
            <a:r>
              <a:rPr lang="it-IT" err="1"/>
              <a:t>aaaa</a:t>
            </a:r>
            <a:endParaRPr lang="it-IT"/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18A30A7B-4D87-4C7D-9158-83DEABF90320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43" name="Connettore diritto 42">
              <a:extLst>
                <a:ext uri="{FF2B5EF4-FFF2-40B4-BE49-F238E27FC236}">
                  <a16:creationId xmlns:a16="http://schemas.microsoft.com/office/drawing/2014/main" id="{AF30C1F0-C558-4119-AC8D-21A7E20ADD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diritto 43">
              <a:extLst>
                <a:ext uri="{FF2B5EF4-FFF2-40B4-BE49-F238E27FC236}">
                  <a16:creationId xmlns:a16="http://schemas.microsoft.com/office/drawing/2014/main" id="{A1E7D8DC-648D-410E-92E4-7A8D2CF5E7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Immagine 11" descr="PI_logo_o_RGB_p.jpg">
            <a:extLst>
              <a:ext uri="{FF2B5EF4-FFF2-40B4-BE49-F238E27FC236}">
                <a16:creationId xmlns:a16="http://schemas.microsoft.com/office/drawing/2014/main" id="{F5102C9E-374B-4840-B046-87F7CA8822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4" name="Rectangle 17">
            <a:extLst>
              <a:ext uri="{FF2B5EF4-FFF2-40B4-BE49-F238E27FC236}">
                <a16:creationId xmlns:a16="http://schemas.microsoft.com/office/drawing/2014/main" id="{8A15406B-7343-477D-97E3-55DBB9AD0A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90911" y="6382258"/>
            <a:ext cx="1351996" cy="249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37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L</a:t>
            </a:r>
          </a:p>
        </p:txBody>
      </p:sp>
      <p:sp>
        <p:nvSpPr>
          <p:cNvPr id="11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4927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/>
          <p:cNvCxnSpPr/>
          <p:nvPr userDrawn="1"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3" name="Sottotitolo 2">
            <a:extLst>
              <a:ext uri="{FF2B5EF4-FFF2-40B4-BE49-F238E27FC236}">
                <a16:creationId xmlns:a16="http://schemas.microsoft.com/office/drawing/2014/main" id="{0117A01B-A6FD-418A-BA40-A36A80E850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14" name="Segnaposto testo 23">
            <a:extLst>
              <a:ext uri="{FF2B5EF4-FFF2-40B4-BE49-F238E27FC236}">
                <a16:creationId xmlns:a16="http://schemas.microsoft.com/office/drawing/2014/main" id="{A0A51B1F-AE13-48D1-9D5F-8604F053F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NOTE</a:t>
            </a:r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0412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2073872" y="961378"/>
            <a:ext cx="9559551" cy="49352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2437"/>
              </a:spcAft>
              <a:buClr>
                <a:srgbClr val="0047BB"/>
              </a:buClr>
              <a:buFont typeface="Arial" panose="020B0604020202020204" pitchFamily="34" charset="0"/>
              <a:buNone/>
              <a:tabLst/>
              <a:defRPr lang="it-IT" sz="2599" b="1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Elenco (BLU1 per selezione, altrimenti GRIGIO2)</a:t>
            </a:r>
          </a:p>
        </p:txBody>
      </p: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1566217" y="961378"/>
            <a:ext cx="133483" cy="4935245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082C6C94-8C69-4E3A-9C55-EE3F67EA6C5F}"/>
              </a:ext>
            </a:extLst>
          </p:cNvPr>
          <p:cNvSpPr/>
          <p:nvPr userDrawn="1"/>
        </p:nvSpPr>
        <p:spPr>
          <a:xfrm>
            <a:off x="8" y="659128"/>
            <a:ext cx="12191999" cy="201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942607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519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888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544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058258" y="1457044"/>
            <a:ext cx="9559552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1058563" y="3336998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3" y="4984823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/>
          <p:cNvCxnSpPr/>
          <p:nvPr userDrawn="1"/>
        </p:nvCxnSpPr>
        <p:spPr>
          <a:xfrm>
            <a:off x="1058563" y="3336998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 userDrawn="1"/>
        </p:nvCxnSpPr>
        <p:spPr>
          <a:xfrm>
            <a:off x="1058563" y="4984823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924773" y="1327193"/>
            <a:ext cx="0" cy="3657631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7" y="6498209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3" name="Sottotitolo 2">
            <a:extLst>
              <a:ext uri="{FF2B5EF4-FFF2-40B4-BE49-F238E27FC236}">
                <a16:creationId xmlns:a16="http://schemas.microsoft.com/office/drawing/2014/main" id="{0117A01B-A6FD-418A-BA40-A36A80E850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3" y="3675614"/>
            <a:ext cx="9559552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49" b="1" cap="all" baseline="0">
                <a:solidFill>
                  <a:srgbClr val="0047BB"/>
                </a:solidFill>
              </a:defRPr>
            </a:lvl1pPr>
            <a:lvl2pPr marL="371341" indent="0" algn="ctr">
              <a:buNone/>
              <a:defRPr sz="1625"/>
            </a:lvl2pPr>
            <a:lvl3pPr marL="742682" indent="0" algn="ctr">
              <a:buNone/>
              <a:defRPr sz="1462"/>
            </a:lvl3pPr>
            <a:lvl4pPr marL="1114023" indent="0" algn="ctr">
              <a:buNone/>
              <a:defRPr sz="1300"/>
            </a:lvl4pPr>
            <a:lvl5pPr marL="1485363" indent="0" algn="ctr">
              <a:buNone/>
              <a:defRPr sz="1300"/>
            </a:lvl5pPr>
            <a:lvl6pPr marL="1856704" indent="0" algn="ctr">
              <a:buNone/>
              <a:defRPr sz="1300"/>
            </a:lvl6pPr>
            <a:lvl7pPr marL="2228045" indent="0" algn="ctr">
              <a:buNone/>
              <a:defRPr sz="1300"/>
            </a:lvl7pPr>
            <a:lvl8pPr marL="2599386" indent="0" algn="ctr">
              <a:buNone/>
              <a:defRPr sz="1300"/>
            </a:lvl8pPr>
            <a:lvl9pPr marL="2970727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14" name="Segnaposto testo 23">
            <a:extLst>
              <a:ext uri="{FF2B5EF4-FFF2-40B4-BE49-F238E27FC236}">
                <a16:creationId xmlns:a16="http://schemas.microsoft.com/office/drawing/2014/main" id="{A0A51B1F-AE13-48D1-9D5F-8604F053F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58" y="4321473"/>
            <a:ext cx="9559552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dirty="0" smtClean="0">
                <a:solidFill>
                  <a:srgbClr val="0047BB"/>
                </a:solidFill>
              </a:defRPr>
            </a:lvl1pPr>
          </a:lstStyle>
          <a:p>
            <a:pPr marL="185671" lvl="0" indent="-185671"/>
            <a:r>
              <a:rPr lang="it-IT"/>
              <a:t>NOTE</a:t>
            </a:r>
          </a:p>
        </p:txBody>
      </p:sp>
      <p:sp>
        <p:nvSpPr>
          <p:cNvPr id="30" name="object 4">
            <a:extLst>
              <a:ext uri="{FF2B5EF4-FFF2-40B4-BE49-F238E27FC236}">
                <a16:creationId xmlns:a16="http://schemas.microsoft.com/office/drawing/2014/main" id="{035E9254-8C6A-40F3-B720-3405317B082A}"/>
              </a:ext>
            </a:extLst>
          </p:cNvPr>
          <p:cNvSpPr/>
          <p:nvPr userDrawn="1"/>
        </p:nvSpPr>
        <p:spPr>
          <a:xfrm>
            <a:off x="11838775" y="6517486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3" name="object 3">
            <a:extLst>
              <a:ext uri="{FF2B5EF4-FFF2-40B4-BE49-F238E27FC236}">
                <a16:creationId xmlns:a16="http://schemas.microsoft.com/office/drawing/2014/main" id="{92F9B3AF-E47A-4356-AFC3-3E84227DF268}"/>
              </a:ext>
            </a:extLst>
          </p:cNvPr>
          <p:cNvSpPr/>
          <p:nvPr userDrawn="1"/>
        </p:nvSpPr>
        <p:spPr>
          <a:xfrm>
            <a:off x="11103686" y="6517486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4" name="Segnaposto numero diapositiva 5">
            <a:extLst>
              <a:ext uri="{FF2B5EF4-FFF2-40B4-BE49-F238E27FC236}">
                <a16:creationId xmlns:a16="http://schemas.microsoft.com/office/drawing/2014/main" id="{3A1EB98E-1340-4BE6-B34B-EC92E04328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12458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ttore diritto 16"/>
          <p:cNvCxnSpPr/>
          <p:nvPr/>
        </p:nvCxnSpPr>
        <p:spPr>
          <a:xfrm>
            <a:off x="1058563" y="3336998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3" y="4984823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2073870" y="961378"/>
            <a:ext cx="9559552" cy="49352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2436"/>
              </a:spcAft>
              <a:buClr>
                <a:srgbClr val="0047BB"/>
              </a:buClr>
              <a:buFont typeface="Arial" panose="020B0604020202020204" pitchFamily="34" charset="0"/>
              <a:buNone/>
              <a:tabLst/>
              <a:defRPr lang="it-IT" sz="2599" b="1" baseline="0" dirty="0" smtClean="0">
                <a:solidFill>
                  <a:srgbClr val="0047BB"/>
                </a:solidFill>
              </a:defRPr>
            </a:lvl1pPr>
          </a:lstStyle>
          <a:p>
            <a:pPr marL="185671" lvl="0" indent="-185671"/>
            <a:r>
              <a:rPr lang="it-IT"/>
              <a:t>Elenco (BLU1 per selezione, altrimenti GRIGIO2)</a:t>
            </a:r>
          </a:p>
        </p:txBody>
      </p:sp>
      <p:cxnSp>
        <p:nvCxnSpPr>
          <p:cNvPr id="19" name="Connettore diritto 18"/>
          <p:cNvCxnSpPr/>
          <p:nvPr userDrawn="1"/>
        </p:nvCxnSpPr>
        <p:spPr>
          <a:xfrm>
            <a:off x="1058563" y="4984823"/>
            <a:ext cx="9559552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1566217" y="961378"/>
            <a:ext cx="133482" cy="4935245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PI_logo_o_RGB_p.jpg">
            <a:extLst>
              <a:ext uri="{FF2B5EF4-FFF2-40B4-BE49-F238E27FC236}">
                <a16:creationId xmlns:a16="http://schemas.microsoft.com/office/drawing/2014/main" id="{C741C110-1A25-436A-BA1D-A4F779E4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7" y="6498209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082C6C94-8C69-4E3A-9C55-EE3F67EA6C5F}"/>
              </a:ext>
            </a:extLst>
          </p:cNvPr>
          <p:cNvSpPr/>
          <p:nvPr userDrawn="1"/>
        </p:nvSpPr>
        <p:spPr>
          <a:xfrm>
            <a:off x="2" y="659082"/>
            <a:ext cx="12191998" cy="201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12" name="Segnaposto numero diapositiva 5">
            <a:extLst>
              <a:ext uri="{FF2B5EF4-FFF2-40B4-BE49-F238E27FC236}">
                <a16:creationId xmlns:a16="http://schemas.microsoft.com/office/drawing/2014/main" id="{1A8EC7E8-A38B-4D94-87EC-5133A081A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934100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4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2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FF92DF1-B9F1-40F4-9CED-165999920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52601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4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04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2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1" lvl="0" indent="-185671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13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3" y="5472117"/>
            <a:ext cx="10958512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2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egnaposto numero diapositiva 5">
            <a:extLst>
              <a:ext uri="{FF2B5EF4-FFF2-40B4-BE49-F238E27FC236}">
                <a16:creationId xmlns:a16="http://schemas.microsoft.com/office/drawing/2014/main" id="{BB4CCFAD-9DFB-4DEE-9716-0C25BCD10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00356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458562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1" lvl="0" indent="-185671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C40DECBE-50B2-4E48-AC18-DA2E585F3103}"/>
              </a:ext>
            </a:extLst>
          </p:cNvPr>
          <p:cNvCxnSpPr/>
          <p:nvPr userDrawn="1"/>
        </p:nvCxnSpPr>
        <p:spPr>
          <a:xfrm>
            <a:off x="371475" y="114304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3" y="5472117"/>
            <a:ext cx="10958512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sp>
        <p:nvSpPr>
          <p:cNvPr id="15" name="Segnaposto testo 6"/>
          <p:cNvSpPr>
            <a:spLocks noGrp="1"/>
          </p:cNvSpPr>
          <p:nvPr>
            <p:ph type="body" sz="quarter" idx="28" hasCustomPrompt="1"/>
          </p:nvPr>
        </p:nvSpPr>
        <p:spPr>
          <a:xfrm>
            <a:off x="2127904" y="6604000"/>
            <a:ext cx="8505826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41" indent="0">
              <a:buNone/>
              <a:defRPr sz="853"/>
            </a:lvl2pPr>
            <a:lvl3pPr marL="742682" indent="0">
              <a:buNone/>
              <a:defRPr sz="812"/>
            </a:lvl3pPr>
            <a:lvl4pPr marL="1114023" indent="0">
              <a:buNone/>
              <a:defRPr sz="731"/>
            </a:lvl4pPr>
            <a:lvl5pPr marL="1485363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2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numero diapositiva 5">
            <a:extLst>
              <a:ext uri="{FF2B5EF4-FFF2-40B4-BE49-F238E27FC236}">
                <a16:creationId xmlns:a16="http://schemas.microsoft.com/office/drawing/2014/main" id="{56AEC7EB-D28E-4237-A760-946BCDD8E7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961853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D11A86C8-B780-4985-B34D-A7740EEB3A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261287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371475" y="1016000"/>
            <a:ext cx="11449050" cy="4060826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999" dirty="0" smtClean="0">
                <a:solidFill>
                  <a:srgbClr val="0047BB"/>
                </a:solidFill>
              </a:defRPr>
            </a:lvl1pPr>
            <a:lvl2pPr>
              <a:buClr>
                <a:srgbClr val="707173"/>
              </a:buClr>
              <a:defRPr lang="it-IT" sz="1799" dirty="0" smtClean="0">
                <a:solidFill>
                  <a:srgbClr val="0047BB"/>
                </a:solidFill>
              </a:defRPr>
            </a:lvl2pPr>
            <a:lvl3pPr marL="1076217" indent="-161908">
              <a:buClr>
                <a:srgbClr val="707173"/>
              </a:buClr>
              <a:defRPr lang="it-IT" sz="1600" dirty="0" smtClean="0">
                <a:solidFill>
                  <a:srgbClr val="0047BB"/>
                </a:solidFill>
              </a:defRPr>
            </a:lvl3pPr>
            <a:lvl4pPr marL="1523848" indent="-152384">
              <a:buClr>
                <a:srgbClr val="707173"/>
              </a:buClr>
              <a:defRPr lang="it-IT" sz="1400" dirty="0" smtClean="0">
                <a:solidFill>
                  <a:srgbClr val="0047BB"/>
                </a:solidFill>
              </a:defRPr>
            </a:lvl4pPr>
            <a:lvl5pPr marL="1971477" indent="-142861">
              <a:buClr>
                <a:srgbClr val="707173"/>
              </a:buClr>
              <a:defRPr lang="it-IT" sz="1400" dirty="0">
                <a:solidFill>
                  <a:srgbClr val="0047BB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999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8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799" cap="none" baseline="0" dirty="0">
                <a:solidFill>
                  <a:schemeClr val="tx2"/>
                </a:solidFill>
              </a:defRPr>
            </a:lvl1pPr>
          </a:lstStyle>
          <a:p>
            <a:pPr marL="228577" lvl="0" indent="-228577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0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egnaposto numero diapositiva 5">
            <a:extLst>
              <a:ext uri="{FF2B5EF4-FFF2-40B4-BE49-F238E27FC236}">
                <a16:creationId xmlns:a16="http://schemas.microsoft.com/office/drawing/2014/main" id="{08468931-7831-438C-BC3E-B96D23939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01082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589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9" name="Rettangolo 28"/>
          <p:cNvSpPr/>
          <p:nvPr/>
        </p:nvSpPr>
        <p:spPr>
          <a:xfrm>
            <a:off x="6503988" y="4105202"/>
            <a:ext cx="53340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6504295" y="836613"/>
            <a:ext cx="53340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504295" y="3582919"/>
            <a:ext cx="53340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6114796" y="3351193"/>
            <a:ext cx="53340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6504295" y="5661025"/>
            <a:ext cx="53340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6503988" y="4321252"/>
            <a:ext cx="53340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307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15" name="Rettangolo 14"/>
          <p:cNvSpPr/>
          <p:nvPr/>
        </p:nvSpPr>
        <p:spPr>
          <a:xfrm>
            <a:off x="8566370" y="6498213"/>
            <a:ext cx="2882429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11448797" y="5433348"/>
            <a:ext cx="97347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11546141" y="6498206"/>
            <a:ext cx="645859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 userDrawn="1"/>
        </p:nvSpPr>
        <p:spPr>
          <a:xfrm>
            <a:off x="6503988" y="4105202"/>
            <a:ext cx="53340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18" name="Connettore diritto 17"/>
          <p:cNvCxnSpPr/>
          <p:nvPr userDrawn="1"/>
        </p:nvCxnSpPr>
        <p:spPr>
          <a:xfrm flipV="1">
            <a:off x="6114796" y="3351193"/>
            <a:ext cx="53340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 userDrawn="1"/>
        </p:nvCxnSpPr>
        <p:spPr>
          <a:xfrm>
            <a:off x="6504295" y="5661025"/>
            <a:ext cx="53340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tangolo 21"/>
          <p:cNvSpPr/>
          <p:nvPr userDrawn="1"/>
        </p:nvSpPr>
        <p:spPr>
          <a:xfrm>
            <a:off x="9004300" y="6498213"/>
            <a:ext cx="2444499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4" name="Rettangolo 23"/>
          <p:cNvSpPr/>
          <p:nvPr userDrawn="1"/>
        </p:nvSpPr>
        <p:spPr>
          <a:xfrm>
            <a:off x="11448797" y="5433348"/>
            <a:ext cx="97347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 userDrawn="1"/>
        </p:nvSpPr>
        <p:spPr>
          <a:xfrm>
            <a:off x="11546141" y="6498206"/>
            <a:ext cx="645859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8566369" y="6497638"/>
            <a:ext cx="2882427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pic>
        <p:nvPicPr>
          <p:cNvPr id="33" name="Immagine 32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93953" y="6497638"/>
            <a:ext cx="2375611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9827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371475" y="1016000"/>
            <a:ext cx="11449050" cy="4060826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2000" dirty="0" smtClean="0">
                <a:solidFill>
                  <a:srgbClr val="0047BB"/>
                </a:solidFill>
              </a:defRPr>
            </a:lvl1pPr>
            <a:lvl2pPr>
              <a:buClr>
                <a:srgbClr val="707173"/>
              </a:buClr>
              <a:defRPr lang="it-IT" sz="1800" dirty="0" smtClean="0">
                <a:solidFill>
                  <a:srgbClr val="0047BB"/>
                </a:solidFill>
              </a:defRPr>
            </a:lvl2pPr>
            <a:lvl3pPr marL="1076325" indent="-161925">
              <a:buClr>
                <a:srgbClr val="707173"/>
              </a:buClr>
              <a:defRPr lang="it-IT" sz="1600" dirty="0" smtClean="0">
                <a:solidFill>
                  <a:srgbClr val="0047BB"/>
                </a:solidFill>
              </a:defRPr>
            </a:lvl3pPr>
            <a:lvl4pPr marL="1524000" indent="-152400">
              <a:buClr>
                <a:srgbClr val="707173"/>
              </a:buClr>
              <a:defRPr lang="it-IT" sz="1400" dirty="0" smtClean="0">
                <a:solidFill>
                  <a:srgbClr val="0047BB"/>
                </a:solidFill>
              </a:defRPr>
            </a:lvl4pPr>
            <a:lvl5pPr marL="1971675" indent="-142875">
              <a:buClr>
                <a:srgbClr val="707173"/>
              </a:buClr>
              <a:defRPr lang="it-IT" sz="1400" dirty="0">
                <a:solidFill>
                  <a:srgbClr val="0047BB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7" y="6500813"/>
            <a:ext cx="645858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0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6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8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59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800" cap="none" baseline="0" dirty="0">
                <a:solidFill>
                  <a:schemeClr val="tx2"/>
                </a:solidFill>
              </a:defRPr>
            </a:lvl1pPr>
          </a:lstStyle>
          <a:p>
            <a:pPr marL="228600" lvl="0" indent="-228600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14" name="Segnaposto testo 6"/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3999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100" i="1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2" y="5472113"/>
            <a:ext cx="10958512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0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2250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488978" y="3557228"/>
            <a:ext cx="9559551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488978" y="810926"/>
            <a:ext cx="9559551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8978" y="3557231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488978" y="3465226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488978" y="5113051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8671" y="4295565"/>
            <a:ext cx="9559551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-1" y="3304055"/>
            <a:ext cx="11448797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ttangolo 32"/>
          <p:cNvSpPr/>
          <p:nvPr/>
        </p:nvSpPr>
        <p:spPr>
          <a:xfrm>
            <a:off x="3197806" y="6498213"/>
            <a:ext cx="8250991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4" name="Rettangolo 33"/>
          <p:cNvSpPr/>
          <p:nvPr/>
        </p:nvSpPr>
        <p:spPr>
          <a:xfrm rot="10800000">
            <a:off x="-1" y="6498212"/>
            <a:ext cx="626456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7" name="Rettangolo 36"/>
          <p:cNvSpPr/>
          <p:nvPr/>
        </p:nvSpPr>
        <p:spPr>
          <a:xfrm>
            <a:off x="11448797" y="6498209"/>
            <a:ext cx="97347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/>
        </p:nvSpPr>
        <p:spPr>
          <a:xfrm>
            <a:off x="11546141" y="6498206"/>
            <a:ext cx="645859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14" name="Connettore diritto 13"/>
          <p:cNvCxnSpPr/>
          <p:nvPr/>
        </p:nvCxnSpPr>
        <p:spPr>
          <a:xfrm>
            <a:off x="11544556" y="3304055"/>
            <a:ext cx="647445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 userDrawn="1"/>
        </p:nvSpPr>
        <p:spPr>
          <a:xfrm>
            <a:off x="488978" y="3557228"/>
            <a:ext cx="9559551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16" name="Connettore diritto 15"/>
          <p:cNvCxnSpPr/>
          <p:nvPr userDrawn="1"/>
        </p:nvCxnSpPr>
        <p:spPr>
          <a:xfrm>
            <a:off x="488978" y="3465226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 userDrawn="1"/>
        </p:nvCxnSpPr>
        <p:spPr>
          <a:xfrm>
            <a:off x="488978" y="5113051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 userDrawn="1"/>
        </p:nvCxnSpPr>
        <p:spPr>
          <a:xfrm>
            <a:off x="-1" y="3304055"/>
            <a:ext cx="11448797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tangolo 21"/>
          <p:cNvSpPr/>
          <p:nvPr userDrawn="1"/>
        </p:nvSpPr>
        <p:spPr>
          <a:xfrm rot="10800000">
            <a:off x="-1" y="6498212"/>
            <a:ext cx="626456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7" name="Rettangolo 26"/>
          <p:cNvSpPr/>
          <p:nvPr userDrawn="1"/>
        </p:nvSpPr>
        <p:spPr>
          <a:xfrm>
            <a:off x="11448797" y="6498209"/>
            <a:ext cx="97347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8" name="Rettangolo 27"/>
          <p:cNvSpPr/>
          <p:nvPr userDrawn="1"/>
        </p:nvSpPr>
        <p:spPr>
          <a:xfrm>
            <a:off x="11546141" y="6498206"/>
            <a:ext cx="645859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29" name="Connettore diritto 28"/>
          <p:cNvCxnSpPr/>
          <p:nvPr userDrawn="1"/>
        </p:nvCxnSpPr>
        <p:spPr>
          <a:xfrm>
            <a:off x="11544556" y="3304055"/>
            <a:ext cx="647445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/>
          </p:nvPr>
        </p:nvSpPr>
        <p:spPr>
          <a:xfrm>
            <a:off x="3197805" y="6497638"/>
            <a:ext cx="7944329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 baseline="0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endParaRPr lang="it-IT" dirty="0"/>
          </a:p>
        </p:txBody>
      </p:sp>
      <p:pic>
        <p:nvPicPr>
          <p:cNvPr id="31" name="Immagine 30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5389" y="6497638"/>
            <a:ext cx="2375611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1398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</p:spTree>
    <p:extLst>
      <p:ext uri="{BB962C8B-B14F-4D97-AF65-F5344CB8AC3E}">
        <p14:creationId xmlns:p14="http://schemas.microsoft.com/office/powerpoint/2010/main" val="4264449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71477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371476" y="1016003"/>
            <a:ext cx="11449051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7" y="360576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546141" y="6500817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14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23"/>
          </p:nvPr>
        </p:nvSpPr>
        <p:spPr>
          <a:xfrm>
            <a:off x="11544556" y="6498212"/>
            <a:ext cx="645859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371477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7" y="360576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371476" y="1016004"/>
            <a:ext cx="5629275" cy="50974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6191252" y="1016004"/>
            <a:ext cx="5629275" cy="50974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42381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6191251" y="1016004"/>
            <a:ext cx="5594351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11544556" y="6498212"/>
            <a:ext cx="645859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371477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7" y="360576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371476" y="2066925"/>
            <a:ext cx="5629275" cy="3038476"/>
          </a:xfrm>
        </p:spPr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84848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371476" y="1016004"/>
            <a:ext cx="5629275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11544556" y="6498212"/>
            <a:ext cx="645859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371477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7" y="360576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191252" y="2076449"/>
            <a:ext cx="5629275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027412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371477" y="1016004"/>
            <a:ext cx="7905751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 grafico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371477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7" y="360576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11544556" y="6498212"/>
            <a:ext cx="645859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8467725" y="1609725"/>
            <a:ext cx="3322339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75035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371477" y="1016004"/>
            <a:ext cx="7905751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a tabell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371477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7" y="360576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21"/>
          </p:nvPr>
        </p:nvSpPr>
        <p:spPr>
          <a:xfrm>
            <a:off x="11544556" y="6498212"/>
            <a:ext cx="645859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8467725" y="1609725"/>
            <a:ext cx="33528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62104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544556" y="6498212"/>
            <a:ext cx="645859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371477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7" y="360576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362373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12192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11544556" y="6498212"/>
            <a:ext cx="645859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 userDrawn="1"/>
        </p:nvSpPr>
        <p:spPr>
          <a:xfrm>
            <a:off x="1" y="628650"/>
            <a:ext cx="12192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 hasCustomPrompt="1"/>
          </p:nvPr>
        </p:nvSpPr>
        <p:spPr>
          <a:xfrm>
            <a:off x="371477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7" y="360576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29139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6" y="6500814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04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00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13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2" y="5472114"/>
            <a:ext cx="10958513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376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9667875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11544556" y="6498212"/>
            <a:ext cx="645859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3" y="0"/>
            <a:ext cx="12191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403" y="2854720"/>
            <a:ext cx="40131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7451" y="3858047"/>
            <a:ext cx="2077101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2349500" y="5588004"/>
            <a:ext cx="7493000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 userDrawn="1"/>
        </p:nvSpPr>
        <p:spPr>
          <a:xfrm>
            <a:off x="1" y="628650"/>
            <a:ext cx="9667875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 userDrawn="1"/>
        </p:nvSpPr>
        <p:spPr>
          <a:xfrm>
            <a:off x="3" y="0"/>
            <a:ext cx="12191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1" name="Immagine 10" descr="pi_rgb_nobkgd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8165" y="2780357"/>
            <a:ext cx="5435671" cy="812902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9512" y="3783686"/>
            <a:ext cx="2812973" cy="23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16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3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white"/>
                </a:solidFill>
              </a:rPr>
              <a:t> </a:t>
            </a:r>
            <a:fld id="{B369E27E-E5B2-4035-BD43-A6A08C0C05B5}" type="slidenum">
              <a:rPr lang="it-IT">
                <a:solidFill>
                  <a:prstClr val="white"/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white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1"/>
          </p:nvPr>
        </p:nvSpPr>
        <p:spPr>
          <a:xfrm>
            <a:off x="3983567" y="6353176"/>
            <a:ext cx="2207684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it-IT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3975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 </a:t>
            </a:r>
            <a:fld id="{96AA5051-1673-460A-A9CB-137373E046E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6660122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918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G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olo 1">
            <a:extLst>
              <a:ext uri="{FF2B5EF4-FFF2-40B4-BE49-F238E27FC236}">
                <a16:creationId xmlns:a16="http://schemas.microsoft.com/office/drawing/2014/main" id="{D32E7196-8556-489D-BF5F-EA5336D8D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6" name="Sottotitolo 2">
            <a:extLst>
              <a:ext uri="{FF2B5EF4-FFF2-40B4-BE49-F238E27FC236}">
                <a16:creationId xmlns:a16="http://schemas.microsoft.com/office/drawing/2014/main" id="{D6BBD262-1CB0-4156-A491-E1942DE70F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39" name="Segnaposto testo 23">
            <a:extLst>
              <a:ext uri="{FF2B5EF4-FFF2-40B4-BE49-F238E27FC236}">
                <a16:creationId xmlns:a16="http://schemas.microsoft.com/office/drawing/2014/main" id="{1D5EDDEF-CC6E-4E4B-99BF-8DF642C8C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Roma, gg mese </a:t>
            </a:r>
            <a:r>
              <a:rPr lang="it-IT" err="1"/>
              <a:t>aaaa</a:t>
            </a:r>
            <a:endParaRPr lang="it-IT"/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18A30A7B-4D87-4C7D-9158-83DEABF90320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43" name="Connettore diritto 42">
              <a:extLst>
                <a:ext uri="{FF2B5EF4-FFF2-40B4-BE49-F238E27FC236}">
                  <a16:creationId xmlns:a16="http://schemas.microsoft.com/office/drawing/2014/main" id="{AF30C1F0-C558-4119-AC8D-21A7E20ADD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diritto 43">
              <a:extLst>
                <a:ext uri="{FF2B5EF4-FFF2-40B4-BE49-F238E27FC236}">
                  <a16:creationId xmlns:a16="http://schemas.microsoft.com/office/drawing/2014/main" id="{A1E7D8DC-648D-410E-92E4-7A8D2CF5E7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7">
            <a:extLst>
              <a:ext uri="{FF2B5EF4-FFF2-40B4-BE49-F238E27FC236}">
                <a16:creationId xmlns:a16="http://schemas.microsoft.com/office/drawing/2014/main" id="{8A15406B-7343-477D-97E3-55DBB9AD0A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90911" y="6382258"/>
            <a:ext cx="1351996" cy="249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37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L</a:t>
            </a:r>
          </a:p>
        </p:txBody>
      </p:sp>
      <p:sp>
        <p:nvSpPr>
          <p:cNvPr id="11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865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058260" y="1457041"/>
            <a:ext cx="9559551" cy="2387600"/>
          </a:xfrm>
        </p:spPr>
        <p:txBody>
          <a:bodyPr anchor="t">
            <a:noAutofit/>
          </a:bodyPr>
          <a:lstStyle>
            <a:lvl1pPr algn="l">
              <a:defRPr sz="3899" b="1">
                <a:solidFill>
                  <a:srgbClr val="0047BB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/>
          <p:cNvCxnSpPr/>
          <p:nvPr userDrawn="1"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924773" y="1327196"/>
            <a:ext cx="0" cy="3657631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Sottotitolo 2">
            <a:extLst>
              <a:ext uri="{FF2B5EF4-FFF2-40B4-BE49-F238E27FC236}">
                <a16:creationId xmlns:a16="http://schemas.microsoft.com/office/drawing/2014/main" id="{0117A01B-A6FD-418A-BA40-A36A80E850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564" y="3675619"/>
            <a:ext cx="9559551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950" b="1" cap="all" baseline="0">
                <a:solidFill>
                  <a:srgbClr val="0047BB"/>
                </a:solidFill>
              </a:defRPr>
            </a:lvl1pPr>
            <a:lvl2pPr marL="371355" indent="0" algn="ctr">
              <a:buNone/>
              <a:defRPr sz="1625"/>
            </a:lvl2pPr>
            <a:lvl3pPr marL="742710" indent="0" algn="ctr">
              <a:buNone/>
              <a:defRPr sz="1462"/>
            </a:lvl3pPr>
            <a:lvl4pPr marL="1114065" indent="0" algn="ctr">
              <a:buNone/>
              <a:defRPr sz="1300"/>
            </a:lvl4pPr>
            <a:lvl5pPr marL="1485420" indent="0" algn="ctr">
              <a:buNone/>
              <a:defRPr sz="1300"/>
            </a:lvl5pPr>
            <a:lvl6pPr marL="1856775" indent="0" algn="ctr">
              <a:buNone/>
              <a:defRPr sz="1300"/>
            </a:lvl6pPr>
            <a:lvl7pPr marL="2228130" indent="0" algn="ctr">
              <a:buNone/>
              <a:defRPr sz="1300"/>
            </a:lvl7pPr>
            <a:lvl8pPr marL="2599485" indent="0" algn="ctr">
              <a:buNone/>
              <a:defRPr sz="1300"/>
            </a:lvl8pPr>
            <a:lvl9pPr marL="2970840" indent="0" algn="ctr">
              <a:buNone/>
              <a:defRPr sz="1300"/>
            </a:lvl9pPr>
          </a:lstStyle>
          <a:p>
            <a:r>
              <a:rPr lang="it-IT"/>
              <a:t>sottotitolo</a:t>
            </a:r>
          </a:p>
        </p:txBody>
      </p:sp>
      <p:sp>
        <p:nvSpPr>
          <p:cNvPr id="14" name="Segnaposto testo 23">
            <a:extLst>
              <a:ext uri="{FF2B5EF4-FFF2-40B4-BE49-F238E27FC236}">
                <a16:creationId xmlns:a16="http://schemas.microsoft.com/office/drawing/2014/main" id="{A0A51B1F-AE13-48D1-9D5F-8604F053F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8260" y="4321516"/>
            <a:ext cx="9559551" cy="56341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462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NOTE</a:t>
            </a:r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  <p:pic>
        <p:nvPicPr>
          <p:cNvPr id="21" name="Immagine 20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30585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ttore diritto 16"/>
          <p:cNvCxnSpPr/>
          <p:nvPr/>
        </p:nvCxnSpPr>
        <p:spPr>
          <a:xfrm>
            <a:off x="1058564" y="3336998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2073872" y="961378"/>
            <a:ext cx="9559551" cy="49352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2437"/>
              </a:spcAft>
              <a:buClr>
                <a:srgbClr val="0047BB"/>
              </a:buClr>
              <a:buFont typeface="Arial" panose="020B0604020202020204" pitchFamily="34" charset="0"/>
              <a:buNone/>
              <a:tabLst/>
              <a:defRPr lang="it-IT" sz="2599" b="1" baseline="0" dirty="0" smtClean="0">
                <a:solidFill>
                  <a:srgbClr val="0047BB"/>
                </a:solidFill>
              </a:defRPr>
            </a:lvl1pPr>
          </a:lstStyle>
          <a:p>
            <a:pPr marL="185678" lvl="0" indent="-185678"/>
            <a:r>
              <a:rPr lang="it-IT"/>
              <a:t>Elenco (BLU1 per selezione, altrimenti GRIGIO2)</a:t>
            </a:r>
          </a:p>
        </p:txBody>
      </p:sp>
      <p:cxnSp>
        <p:nvCxnSpPr>
          <p:cNvPr id="19" name="Connettore diritto 18"/>
          <p:cNvCxnSpPr/>
          <p:nvPr userDrawn="1"/>
        </p:nvCxnSpPr>
        <p:spPr>
          <a:xfrm>
            <a:off x="1058564" y="4984823"/>
            <a:ext cx="9559551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3A74454-61CE-4045-9ED5-906A4C152801}"/>
              </a:ext>
            </a:extLst>
          </p:cNvPr>
          <p:cNvGrpSpPr/>
          <p:nvPr userDrawn="1"/>
        </p:nvGrpSpPr>
        <p:grpSpPr>
          <a:xfrm>
            <a:off x="1566217" y="961378"/>
            <a:ext cx="133483" cy="4935245"/>
            <a:chOff x="492973" y="1455420"/>
            <a:chExt cx="0" cy="3657631"/>
          </a:xfrm>
        </p:grpSpPr>
        <p:cxnSp>
          <p:nvCxnSpPr>
            <p:cNvPr id="20" name="Connettore diritto 19"/>
            <p:cNvCxnSpPr>
              <a:cxnSpLocks/>
            </p:cNvCxnSpPr>
            <p:nvPr userDrawn="1"/>
          </p:nvCxnSpPr>
          <p:spPr>
            <a:xfrm>
              <a:off x="492973" y="1455420"/>
              <a:ext cx="0" cy="3657631"/>
            </a:xfrm>
            <a:prstGeom prst="line">
              <a:avLst/>
            </a:prstGeom>
            <a:ln w="254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diritto 38">
              <a:extLst>
                <a:ext uri="{FF2B5EF4-FFF2-40B4-BE49-F238E27FC236}">
                  <a16:creationId xmlns:a16="http://schemas.microsoft.com/office/drawing/2014/main" id="{38AD26CC-9645-4151-94F7-581032FE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2973" y="2764631"/>
              <a:ext cx="0" cy="1039208"/>
            </a:xfrm>
            <a:prstGeom prst="line">
              <a:avLst/>
            </a:prstGeom>
            <a:ln w="63500" cap="flat">
              <a:solidFill>
                <a:srgbClr val="0047B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ttangolo 1">
            <a:extLst>
              <a:ext uri="{FF2B5EF4-FFF2-40B4-BE49-F238E27FC236}">
                <a16:creationId xmlns:a16="http://schemas.microsoft.com/office/drawing/2014/main" id="{082C6C94-8C69-4E3A-9C55-EE3F67EA6C5F}"/>
              </a:ext>
            </a:extLst>
          </p:cNvPr>
          <p:cNvSpPr/>
          <p:nvPr userDrawn="1"/>
        </p:nvSpPr>
        <p:spPr>
          <a:xfrm>
            <a:off x="8" y="659128"/>
            <a:ext cx="12191999" cy="201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15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66893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magine 5" descr="PI_logo_o_RGB_p.jpg">
            <a:extLst>
              <a:ext uri="{FF2B5EF4-FFF2-40B4-BE49-F238E27FC236}">
                <a16:creationId xmlns:a16="http://schemas.microsoft.com/office/drawing/2014/main" id="{970EBE6C-47E6-4306-993A-92E6526304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3208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magine 9" descr="PI_logo_o_RGB_p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3412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9" y="6500860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grafico 8">
            <a:extLst>
              <a:ext uri="{FF2B5EF4-FFF2-40B4-BE49-F238E27FC236}">
                <a16:creationId xmlns:a16="http://schemas.microsoft.com/office/drawing/2014/main" id="{6F003C26-C595-41FA-9319-BD0E7472F4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127911" y="1366043"/>
            <a:ext cx="7936193" cy="38364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it-IT"/>
              <a:t>GRAFICO 1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F7CC6CD-4B7F-417B-B7E0-4AE1AAF2FF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4046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894" i="1"/>
            </a:lvl1pPr>
            <a:lvl2pPr marL="371355" indent="0">
              <a:buNone/>
              <a:defRPr sz="853"/>
            </a:lvl2pPr>
            <a:lvl3pPr marL="742710" indent="0">
              <a:buNone/>
              <a:defRPr sz="812"/>
            </a:lvl3pPr>
            <a:lvl4pPr marL="1114065" indent="0">
              <a:buNone/>
              <a:defRPr sz="731"/>
            </a:lvl4pPr>
            <a:lvl5pPr marL="1485420" indent="0">
              <a:buNone/>
              <a:defRPr sz="731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9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5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630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solo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6" y="6500814"/>
            <a:ext cx="645859" cy="357187"/>
          </a:xfrm>
          <a:prstGeom prst="rect">
            <a:avLst/>
          </a:prstGeom>
        </p:spPr>
        <p:txBody>
          <a:bodyPr/>
          <a:lstStyle/>
          <a:p>
            <a:pPr defTabSz="742710"/>
            <a:fld id="{B87FA73C-A7EE-4241-A631-441DFD16C2EB}" type="slidenum">
              <a:rPr lang="it-IT" smtClean="0"/>
              <a:pPr defTabSz="742710"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344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371475" y="1016000"/>
            <a:ext cx="11449050" cy="4060826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2000" dirty="0" smtClean="0">
                <a:solidFill>
                  <a:srgbClr val="0047BB"/>
                </a:solidFill>
              </a:defRPr>
            </a:lvl1pPr>
            <a:lvl2pPr>
              <a:buClr>
                <a:srgbClr val="707173"/>
              </a:buClr>
              <a:defRPr lang="it-IT" sz="1800" dirty="0" smtClean="0">
                <a:solidFill>
                  <a:srgbClr val="0047BB"/>
                </a:solidFill>
              </a:defRPr>
            </a:lvl2pPr>
            <a:lvl3pPr marL="1076325" indent="-161925">
              <a:buClr>
                <a:srgbClr val="707173"/>
              </a:buClr>
              <a:defRPr lang="it-IT" sz="1600" dirty="0" smtClean="0">
                <a:solidFill>
                  <a:srgbClr val="0047BB"/>
                </a:solidFill>
              </a:defRPr>
            </a:lvl3pPr>
            <a:lvl4pPr marL="1524000" indent="-152400">
              <a:buClr>
                <a:srgbClr val="707173"/>
              </a:buClr>
              <a:defRPr lang="it-IT" sz="1400" dirty="0" smtClean="0">
                <a:solidFill>
                  <a:srgbClr val="0047BB"/>
                </a:solidFill>
              </a:defRPr>
            </a:lvl4pPr>
            <a:lvl5pPr marL="1971675" indent="-142875">
              <a:buClr>
                <a:srgbClr val="707173"/>
              </a:buClr>
              <a:defRPr lang="it-IT" sz="1400" dirty="0">
                <a:solidFill>
                  <a:srgbClr val="0047BB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174667" y="6500813"/>
            <a:ext cx="645858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20ACF806-B099-4100-A740-8ADCAF9366A4}"/>
              </a:ext>
            </a:extLst>
          </p:cNvPr>
          <p:cNvCxnSpPr/>
          <p:nvPr userDrawn="1"/>
        </p:nvCxnSpPr>
        <p:spPr>
          <a:xfrm>
            <a:off x="371475" y="114300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6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8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59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800" cap="none" baseline="0" dirty="0">
                <a:solidFill>
                  <a:schemeClr val="tx2"/>
                </a:solidFill>
              </a:defRPr>
            </a:lvl1pPr>
          </a:lstStyle>
          <a:p>
            <a:pPr marL="228600" lvl="0" indent="-228600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sp>
        <p:nvSpPr>
          <p:cNvPr id="14" name="Segnaposto testo 6"/>
          <p:cNvSpPr>
            <a:spLocks noGrp="1"/>
          </p:cNvSpPr>
          <p:nvPr>
            <p:ph type="body" sz="quarter" idx="23" hasCustomPrompt="1"/>
          </p:nvPr>
        </p:nvSpPr>
        <p:spPr>
          <a:xfrm>
            <a:off x="2127903" y="6603999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100" i="1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it-IT"/>
              <a:t>Nota</a:t>
            </a:r>
          </a:p>
        </p:txBody>
      </p:sp>
      <p:sp>
        <p:nvSpPr>
          <p:cNvPr id="1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2" y="5472113"/>
            <a:ext cx="10958512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0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873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54786" y="705434"/>
            <a:ext cx="10682427" cy="15805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3/2023</a:t>
            </a:fld>
            <a:endParaRPr lang="en-US"/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AB9529F2-787A-4810-9C0F-4770FD0B6A5E}"/>
              </a:ext>
            </a:extLst>
          </p:cNvPr>
          <p:cNvSpPr/>
          <p:nvPr userDrawn="1"/>
        </p:nvSpPr>
        <p:spPr>
          <a:xfrm>
            <a:off x="11103687" y="6517489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013" dirty="0"/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id="{ADE77F40-999C-41E7-B8D5-29B958BAE942}"/>
              </a:ext>
            </a:extLst>
          </p:cNvPr>
          <p:cNvSpPr/>
          <p:nvPr userDrawn="1"/>
        </p:nvSpPr>
        <p:spPr>
          <a:xfrm>
            <a:off x="11838776" y="6517489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013" dirty="0"/>
          </a:p>
        </p:txBody>
      </p:sp>
      <p:sp>
        <p:nvSpPr>
          <p:cNvPr id="18" name="Segnaposto numero diapositiva 5">
            <a:extLst>
              <a:ext uri="{FF2B5EF4-FFF2-40B4-BE49-F238E27FC236}">
                <a16:creationId xmlns:a16="http://schemas.microsoft.com/office/drawing/2014/main" id="{CC94EA79-BF17-4AC2-A1C9-D22D6C6A1E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48301" y="6498211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415423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458560" y="35497"/>
            <a:ext cx="11418586" cy="358951"/>
          </a:xfrm>
          <a:prstGeom prst="rect">
            <a:avLst/>
          </a:prstGeom>
        </p:spPr>
        <p:txBody>
          <a:bodyPr/>
          <a:lstStyle>
            <a:lvl1pPr>
              <a:defRPr sz="1625">
                <a:solidFill>
                  <a:schemeClr val="tx2"/>
                </a:solidFill>
              </a:defRPr>
            </a:lvl1pPr>
          </a:lstStyle>
          <a:p>
            <a:r>
              <a:rPr lang="it-IT"/>
              <a:t>Titolo SLIDE (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24, </a:t>
            </a:r>
            <a:r>
              <a:rPr lang="it-IT" err="1"/>
              <a:t>bold</a:t>
            </a:r>
            <a:r>
              <a:rPr lang="it-IT"/>
              <a:t>, maiuscolo, blu, </a:t>
            </a:r>
            <a:r>
              <a:rPr lang="it-IT" err="1"/>
              <a:t>max</a:t>
            </a:r>
            <a:r>
              <a:rPr lang="it-IT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462" cap="none" baseline="0" dirty="0">
                <a:solidFill>
                  <a:schemeClr val="tx2"/>
                </a:solidFill>
              </a:defRPr>
            </a:lvl1pPr>
          </a:lstStyle>
          <a:p>
            <a:pPr marL="185678" lvl="0" indent="-185678"/>
            <a:r>
              <a:rPr lang="it-IT"/>
              <a:t>SOTTOTITOLO (corpo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max</a:t>
            </a:r>
            <a:r>
              <a:rPr lang="it-IT"/>
              <a:t> 18, maiuscolo, blu, </a:t>
            </a:r>
            <a:r>
              <a:rPr lang="it-IT" err="1"/>
              <a:t>max</a:t>
            </a:r>
            <a:r>
              <a:rPr lang="it-IT"/>
              <a:t> 1 riga)</a:t>
            </a:r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C40DECBE-50B2-4E48-AC18-DA2E585F3103}"/>
              </a:ext>
            </a:extLst>
          </p:cNvPr>
          <p:cNvCxnSpPr/>
          <p:nvPr userDrawn="1"/>
        </p:nvCxnSpPr>
        <p:spPr>
          <a:xfrm>
            <a:off x="371475" y="114301"/>
            <a:ext cx="0" cy="514350"/>
          </a:xfrm>
          <a:prstGeom prst="line">
            <a:avLst/>
          </a:prstGeom>
          <a:ln w="47625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egnaposto numero diapositiva 2">
            <a:extLst>
              <a:ext uri="{FF2B5EF4-FFF2-40B4-BE49-F238E27FC236}">
                <a16:creationId xmlns:a16="http://schemas.microsoft.com/office/drawing/2014/main" id="{35D4FA1A-52F8-442C-8549-744B1C892DC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4192" y="6500814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4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67432" y="5472114"/>
            <a:ext cx="10958513" cy="827087"/>
          </a:xfrm>
          <a:prstGeom prst="rect">
            <a:avLst/>
          </a:prstGeom>
        </p:spPr>
        <p:txBody>
          <a:bodyPr/>
          <a:lstStyle>
            <a:lvl1pPr>
              <a:buClr>
                <a:srgbClr val="0047BB"/>
              </a:buClr>
              <a:defRPr>
                <a:solidFill>
                  <a:srgbClr val="0047BA"/>
                </a:solidFill>
              </a:defRPr>
            </a:lvl1pPr>
          </a:lstStyle>
          <a:p>
            <a:pPr lvl="0"/>
            <a:r>
              <a:rPr lang="it-IT"/>
              <a:t>Inserire payoff</a:t>
            </a:r>
          </a:p>
        </p:txBody>
      </p:sp>
      <p:cxnSp>
        <p:nvCxnSpPr>
          <p:cNvPr id="16" name="Connettore diritto 36"/>
          <p:cNvCxnSpPr>
            <a:cxnSpLocks/>
          </p:cNvCxnSpPr>
          <p:nvPr userDrawn="1"/>
        </p:nvCxnSpPr>
        <p:spPr>
          <a:xfrm>
            <a:off x="1" y="754740"/>
            <a:ext cx="12192000" cy="0"/>
          </a:xfrm>
          <a:prstGeom prst="line">
            <a:avLst/>
          </a:prstGeom>
          <a:ln w="12700" cap="flat">
            <a:solidFill>
              <a:srgbClr val="0047B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546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6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48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9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55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oleObject" Target="../embeddings/oleObject7.bin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7.xml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78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77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957" y="1587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6" imgW="421" imgH="420" progId="TCLayout.ActiveDocument.1">
                  <p:embed/>
                </p:oleObj>
              </mc:Choice>
              <mc:Fallback>
                <p:oleObj name="Diapositiva think-cell" r:id="rId16" imgW="421" imgH="42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7" y="1587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riangolo isoscele 1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3" name="Triangolo isoscele 22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4" name="Triangolo isoscele 23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5" name="Triangolo isoscele 24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8" name="Triangolo isoscele 27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30" name="Triangolo isoscele 29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grpSp>
        <p:nvGrpSpPr>
          <p:cNvPr id="31" name="Gruppo 30"/>
          <p:cNvGrpSpPr/>
          <p:nvPr/>
        </p:nvGrpSpPr>
        <p:grpSpPr>
          <a:xfrm>
            <a:off x="472379" y="-684087"/>
            <a:ext cx="11214796" cy="600490"/>
            <a:chOff x="745213" y="206111"/>
            <a:chExt cx="13200415" cy="431729"/>
          </a:xfrm>
        </p:grpSpPr>
        <p:sp>
          <p:nvSpPr>
            <p:cNvPr id="32" name="Rettangolo 31"/>
            <p:cNvSpPr/>
            <p:nvPr userDrawn="1"/>
          </p:nvSpPr>
          <p:spPr>
            <a:xfrm>
              <a:off x="745213" y="206111"/>
              <a:ext cx="1565036" cy="427349"/>
            </a:xfrm>
            <a:prstGeom prst="rect">
              <a:avLst/>
            </a:prstGeom>
            <a:solidFill>
              <a:srgbClr val="EED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tx2"/>
                  </a:solidFill>
                </a:rPr>
                <a:t>GIALLO</a:t>
              </a:r>
            </a:p>
            <a:p>
              <a:pPr algn="ctr"/>
              <a:r>
                <a:rPr lang="it-IT" sz="894" b="1">
                  <a:solidFill>
                    <a:schemeClr val="tx2"/>
                  </a:solidFill>
                </a:rPr>
                <a:t>238-220-0</a:t>
              </a:r>
            </a:p>
          </p:txBody>
        </p:sp>
        <p:sp>
          <p:nvSpPr>
            <p:cNvPr id="33" name="Rettangolo 32"/>
            <p:cNvSpPr/>
            <p:nvPr userDrawn="1"/>
          </p:nvSpPr>
          <p:spPr>
            <a:xfrm>
              <a:off x="2407411" y="206111"/>
              <a:ext cx="1565036" cy="427349"/>
            </a:xfrm>
            <a:prstGeom prst="rect">
              <a:avLst/>
            </a:prstGeom>
            <a:solidFill>
              <a:srgbClr val="0047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1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71-187</a:t>
              </a:r>
            </a:p>
          </p:txBody>
        </p:sp>
        <p:sp>
          <p:nvSpPr>
            <p:cNvPr id="34" name="Rettangolo 33"/>
            <p:cNvSpPr/>
            <p:nvPr userDrawn="1"/>
          </p:nvSpPr>
          <p:spPr>
            <a:xfrm>
              <a:off x="7394007" y="210491"/>
              <a:ext cx="1565034" cy="427349"/>
            </a:xfrm>
            <a:prstGeom prst="rect">
              <a:avLst/>
            </a:prstGeom>
            <a:solidFill>
              <a:srgbClr val="3C3C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1 </a:t>
              </a:r>
              <a:br>
                <a:rPr lang="it-IT" sz="1137" b="1">
                  <a:solidFill>
                    <a:schemeClr val="bg1"/>
                  </a:solidFill>
                </a:rPr>
              </a:br>
              <a:r>
                <a:rPr lang="it-IT" sz="894" b="0">
                  <a:solidFill>
                    <a:schemeClr val="bg1"/>
                  </a:solidFill>
                </a:rPr>
                <a:t>(testo e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0-60-59</a:t>
              </a:r>
              <a:endParaRPr lang="it-IT" sz="1137" b="1">
                <a:solidFill>
                  <a:schemeClr val="bg1"/>
                </a:solidFill>
              </a:endParaRPr>
            </a:p>
          </p:txBody>
        </p:sp>
        <p:sp>
          <p:nvSpPr>
            <p:cNvPr id="35" name="Rettangolo 34"/>
            <p:cNvSpPr/>
            <p:nvPr userDrawn="1"/>
          </p:nvSpPr>
          <p:spPr>
            <a:xfrm>
              <a:off x="9056203" y="206111"/>
              <a:ext cx="1565034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2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112-111-111</a:t>
              </a:r>
            </a:p>
          </p:txBody>
        </p:sp>
        <p:sp>
          <p:nvSpPr>
            <p:cNvPr id="36" name="Rettangolo 35"/>
            <p:cNvSpPr/>
            <p:nvPr userDrawn="1"/>
          </p:nvSpPr>
          <p:spPr>
            <a:xfrm>
              <a:off x="10718399" y="206111"/>
              <a:ext cx="1565034" cy="42734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2">
                      <a:lumMod val="25000"/>
                    </a:schemeClr>
                  </a:solidFill>
                </a:rPr>
                <a:t>GRIGIO 3</a:t>
              </a:r>
            </a:p>
            <a:p>
              <a:pPr algn="ctr"/>
              <a:r>
                <a:rPr lang="it-IT" sz="894" b="1">
                  <a:solidFill>
                    <a:schemeClr val="bg2">
                      <a:lumMod val="25000"/>
                    </a:schemeClr>
                  </a:solidFill>
                </a:rPr>
                <a:t>192-192-192</a:t>
              </a:r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987A725F-B243-49F6-A2A5-CDF5B8502E26}"/>
                </a:ext>
              </a:extLst>
            </p:cNvPr>
            <p:cNvSpPr/>
            <p:nvPr userDrawn="1"/>
          </p:nvSpPr>
          <p:spPr>
            <a:xfrm>
              <a:off x="4069610" y="206111"/>
              <a:ext cx="1565036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2 </a:t>
              </a:r>
            </a:p>
            <a:p>
              <a:pPr algn="ctr"/>
              <a:r>
                <a:rPr lang="it-IT" sz="894" b="0">
                  <a:solidFill>
                    <a:schemeClr val="bg1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1-134-255</a:t>
              </a: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55D8F638-7BA9-49A8-98E3-F553E8E7488D}"/>
                </a:ext>
              </a:extLst>
            </p:cNvPr>
            <p:cNvSpPr/>
            <p:nvPr userDrawn="1"/>
          </p:nvSpPr>
          <p:spPr>
            <a:xfrm>
              <a:off x="5731808" y="206111"/>
              <a:ext cx="1565036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rgbClr val="3C3C3B"/>
                  </a:solidFill>
                </a:rPr>
                <a:t>BLU 2 </a:t>
              </a:r>
              <a:br>
                <a:rPr lang="it-IT" sz="1137" b="1">
                  <a:solidFill>
                    <a:srgbClr val="3C3C3B"/>
                  </a:solidFill>
                </a:rPr>
              </a:br>
              <a:r>
                <a:rPr lang="it-IT" sz="894" b="0">
                  <a:solidFill>
                    <a:srgbClr val="3C3C3B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rgbClr val="3C3C3B"/>
                  </a:solidFill>
                </a:rPr>
                <a:t>190-214-255</a:t>
              </a:r>
            </a:p>
          </p:txBody>
        </p:sp>
        <p:sp>
          <p:nvSpPr>
            <p:cNvPr id="64" name="Rettangolo 63"/>
            <p:cNvSpPr/>
            <p:nvPr userDrawn="1"/>
          </p:nvSpPr>
          <p:spPr>
            <a:xfrm>
              <a:off x="12380594" y="206111"/>
              <a:ext cx="1565034" cy="427349"/>
            </a:xfrm>
            <a:prstGeom prst="rect">
              <a:avLst/>
            </a:prstGeom>
            <a:solidFill>
              <a:srgbClr val="009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VERDE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158-71</a:t>
              </a:r>
            </a:p>
          </p:txBody>
        </p:sp>
      </p:grp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4" name="Triangolo isoscele 43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5" name="Triangolo isoscele 44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6" name="Triangolo isoscele 45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7" name="Triangolo isoscele 46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0" name="Triangolo isoscele 49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1" name="Triangolo isoscele 50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1" name="object 3">
            <a:extLst>
              <a:ext uri="{FF2B5EF4-FFF2-40B4-BE49-F238E27FC236}">
                <a16:creationId xmlns:a16="http://schemas.microsoft.com/office/drawing/2014/main" id="{AB9529F2-787A-4810-9C0F-4770FD0B6A5E}"/>
              </a:ext>
            </a:extLst>
          </p:cNvPr>
          <p:cNvSpPr/>
          <p:nvPr/>
        </p:nvSpPr>
        <p:spPr>
          <a:xfrm>
            <a:off x="11103687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42" name="object 4">
            <a:extLst>
              <a:ext uri="{FF2B5EF4-FFF2-40B4-BE49-F238E27FC236}">
                <a16:creationId xmlns:a16="http://schemas.microsoft.com/office/drawing/2014/main" id="{ADE77F40-999C-41E7-B8D5-29B958BAE942}"/>
              </a:ext>
            </a:extLst>
          </p:cNvPr>
          <p:cNvSpPr/>
          <p:nvPr/>
        </p:nvSpPr>
        <p:spPr>
          <a:xfrm>
            <a:off x="11838775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7" name="Segnaposto numero diapositiva 5">
            <a:extLst>
              <a:ext uri="{FF2B5EF4-FFF2-40B4-BE49-F238E27FC236}">
                <a16:creationId xmlns:a16="http://schemas.microsoft.com/office/drawing/2014/main" id="{CC94EA79-BF17-4AC2-A1C9-D22D6C6A1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1" y="6498254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2379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1" r:id="rId9"/>
    <p:sldLayoutId id="2147483672" r:id="rId10"/>
    <p:sldLayoutId id="2147483674" r:id="rId11"/>
    <p:sldLayoutId id="2147483676" r:id="rId12"/>
    <p:sldLayoutId id="214748368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742710" rtl="0" eaLnBrk="1" latinLnBrk="0" hangingPunct="1">
        <a:lnSpc>
          <a:spcPct val="90000"/>
        </a:lnSpc>
        <a:spcBef>
          <a:spcPct val="0"/>
        </a:spcBef>
        <a:buNone/>
        <a:defRPr sz="195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678" indent="-185678" algn="l" defTabSz="742710" rtl="0" eaLnBrk="1" latinLnBrk="0" hangingPunct="1">
        <a:lnSpc>
          <a:spcPct val="90000"/>
        </a:lnSpc>
        <a:spcBef>
          <a:spcPts val="812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625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57033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462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28387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Font typeface="Arial" panose="020B0604020202020204" pitchFamily="34" charset="0"/>
        <a:buChar char="•"/>
        <a:defRPr lang="it-IT" sz="13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99742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71098" indent="-185678" algn="l" defTabSz="742710" rtl="0" eaLnBrk="1" latinLnBrk="0" hangingPunct="1">
        <a:lnSpc>
          <a:spcPct val="90000"/>
        </a:lnSpc>
        <a:spcBef>
          <a:spcPts val="406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042452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3807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163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6518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5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71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06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42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77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13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48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084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4">
          <p15:clr>
            <a:srgbClr val="9FCC3B"/>
          </p15:clr>
        </p15:guide>
        <p15:guide id="2" pos="3840">
          <p15:clr>
            <a:srgbClr val="F26B43"/>
          </p15:clr>
        </p15:guide>
        <p15:guide id="3" orient="horz" pos="3851">
          <p15:clr>
            <a:srgbClr val="9FCC3B"/>
          </p15:clr>
        </p15:guide>
        <p15:guide id="4" orient="horz" pos="640">
          <p15:clr>
            <a:srgbClr val="FBAE40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99335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1" imgW="175" imgH="175" progId="TCLayout.ActiveDocument.1">
                  <p:embed/>
                </p:oleObj>
              </mc:Choice>
              <mc:Fallback>
                <p:oleObj name="Diapositiva think-cell" r:id="rId11" imgW="175" imgH="175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riangolo isoscele 1"/>
          <p:cNvSpPr/>
          <p:nvPr/>
        </p:nvSpPr>
        <p:spPr>
          <a:xfrm rot="10800000">
            <a:off x="303128" y="-324736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3" name="Triangolo isoscele 22"/>
          <p:cNvSpPr/>
          <p:nvPr/>
        </p:nvSpPr>
        <p:spPr>
          <a:xfrm rot="10800000">
            <a:off x="11756536" y="-324736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4" name="Triangolo isoscele 23"/>
          <p:cNvSpPr/>
          <p:nvPr/>
        </p:nvSpPr>
        <p:spPr>
          <a:xfrm>
            <a:off x="303128" y="6950758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5" name="Triangolo isoscele 24"/>
          <p:cNvSpPr/>
          <p:nvPr/>
        </p:nvSpPr>
        <p:spPr>
          <a:xfrm>
            <a:off x="11756536" y="6950758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76037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76036" y="5982840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8" name="Triangolo isoscele 27"/>
          <p:cNvSpPr/>
          <p:nvPr/>
        </p:nvSpPr>
        <p:spPr>
          <a:xfrm rot="16200000">
            <a:off x="12331121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30" name="Triangolo isoscele 29"/>
          <p:cNvSpPr/>
          <p:nvPr/>
        </p:nvSpPr>
        <p:spPr>
          <a:xfrm rot="16200000">
            <a:off x="12331122" y="5982840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grpSp>
        <p:nvGrpSpPr>
          <p:cNvPr id="31" name="Gruppo 30"/>
          <p:cNvGrpSpPr/>
          <p:nvPr/>
        </p:nvGrpSpPr>
        <p:grpSpPr>
          <a:xfrm>
            <a:off x="472379" y="-684087"/>
            <a:ext cx="11214796" cy="600490"/>
            <a:chOff x="745213" y="206111"/>
            <a:chExt cx="13200415" cy="431729"/>
          </a:xfrm>
        </p:grpSpPr>
        <p:sp>
          <p:nvSpPr>
            <p:cNvPr id="32" name="Rettangolo 31"/>
            <p:cNvSpPr/>
            <p:nvPr userDrawn="1"/>
          </p:nvSpPr>
          <p:spPr>
            <a:xfrm>
              <a:off x="745213" y="206111"/>
              <a:ext cx="1565036" cy="427349"/>
            </a:xfrm>
            <a:prstGeom prst="rect">
              <a:avLst/>
            </a:prstGeom>
            <a:solidFill>
              <a:srgbClr val="EED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tx2"/>
                  </a:solidFill>
                </a:rPr>
                <a:t>GIALLO</a:t>
              </a:r>
            </a:p>
            <a:p>
              <a:pPr algn="ctr"/>
              <a:r>
                <a:rPr lang="it-IT" sz="894" b="1">
                  <a:solidFill>
                    <a:schemeClr val="tx2"/>
                  </a:solidFill>
                </a:rPr>
                <a:t>238-220-0</a:t>
              </a:r>
            </a:p>
          </p:txBody>
        </p:sp>
        <p:sp>
          <p:nvSpPr>
            <p:cNvPr id="33" name="Rettangolo 32"/>
            <p:cNvSpPr/>
            <p:nvPr userDrawn="1"/>
          </p:nvSpPr>
          <p:spPr>
            <a:xfrm>
              <a:off x="2407411" y="206111"/>
              <a:ext cx="1565036" cy="427349"/>
            </a:xfrm>
            <a:prstGeom prst="rect">
              <a:avLst/>
            </a:prstGeom>
            <a:solidFill>
              <a:srgbClr val="0047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1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71-187</a:t>
              </a:r>
            </a:p>
          </p:txBody>
        </p:sp>
        <p:sp>
          <p:nvSpPr>
            <p:cNvPr id="34" name="Rettangolo 33"/>
            <p:cNvSpPr/>
            <p:nvPr userDrawn="1"/>
          </p:nvSpPr>
          <p:spPr>
            <a:xfrm>
              <a:off x="7394007" y="210491"/>
              <a:ext cx="1565034" cy="427349"/>
            </a:xfrm>
            <a:prstGeom prst="rect">
              <a:avLst/>
            </a:prstGeom>
            <a:solidFill>
              <a:srgbClr val="3C3C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1 </a:t>
              </a:r>
              <a:br>
                <a:rPr lang="it-IT" sz="1137" b="1">
                  <a:solidFill>
                    <a:schemeClr val="bg1"/>
                  </a:solidFill>
                </a:rPr>
              </a:br>
              <a:r>
                <a:rPr lang="it-IT" sz="894" b="0">
                  <a:solidFill>
                    <a:schemeClr val="bg1"/>
                  </a:solidFill>
                </a:rPr>
                <a:t>(testo e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0-60-59</a:t>
              </a:r>
              <a:endParaRPr lang="it-IT" sz="1137" b="1">
                <a:solidFill>
                  <a:schemeClr val="bg1"/>
                </a:solidFill>
              </a:endParaRPr>
            </a:p>
          </p:txBody>
        </p:sp>
        <p:sp>
          <p:nvSpPr>
            <p:cNvPr id="35" name="Rettangolo 34"/>
            <p:cNvSpPr/>
            <p:nvPr userDrawn="1"/>
          </p:nvSpPr>
          <p:spPr>
            <a:xfrm>
              <a:off x="9056203" y="206111"/>
              <a:ext cx="1565034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2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112-111-111</a:t>
              </a:r>
            </a:p>
          </p:txBody>
        </p:sp>
        <p:sp>
          <p:nvSpPr>
            <p:cNvPr id="36" name="Rettangolo 35"/>
            <p:cNvSpPr/>
            <p:nvPr userDrawn="1"/>
          </p:nvSpPr>
          <p:spPr>
            <a:xfrm>
              <a:off x="10718399" y="206111"/>
              <a:ext cx="1565034" cy="42734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2">
                      <a:lumMod val="25000"/>
                    </a:schemeClr>
                  </a:solidFill>
                </a:rPr>
                <a:t>GRIGIO 3</a:t>
              </a:r>
            </a:p>
            <a:p>
              <a:pPr algn="ctr"/>
              <a:r>
                <a:rPr lang="it-IT" sz="894" b="1">
                  <a:solidFill>
                    <a:schemeClr val="bg2">
                      <a:lumMod val="25000"/>
                    </a:schemeClr>
                  </a:solidFill>
                </a:rPr>
                <a:t>192-192-192</a:t>
              </a:r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987A725F-B243-49F6-A2A5-CDF5B8502E26}"/>
                </a:ext>
              </a:extLst>
            </p:cNvPr>
            <p:cNvSpPr/>
            <p:nvPr userDrawn="1"/>
          </p:nvSpPr>
          <p:spPr>
            <a:xfrm>
              <a:off x="4069610" y="206111"/>
              <a:ext cx="1565036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2 </a:t>
              </a:r>
            </a:p>
            <a:p>
              <a:pPr algn="ctr"/>
              <a:r>
                <a:rPr lang="it-IT" sz="894" b="0">
                  <a:solidFill>
                    <a:schemeClr val="bg1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1-134-255</a:t>
              </a: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55D8F638-7BA9-49A8-98E3-F553E8E7488D}"/>
                </a:ext>
              </a:extLst>
            </p:cNvPr>
            <p:cNvSpPr/>
            <p:nvPr userDrawn="1"/>
          </p:nvSpPr>
          <p:spPr>
            <a:xfrm>
              <a:off x="5731808" y="206111"/>
              <a:ext cx="1565036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rgbClr val="3C3C3B"/>
                  </a:solidFill>
                </a:rPr>
                <a:t>BLU 2 </a:t>
              </a:r>
              <a:br>
                <a:rPr lang="it-IT" sz="1137" b="1">
                  <a:solidFill>
                    <a:srgbClr val="3C3C3B"/>
                  </a:solidFill>
                </a:rPr>
              </a:br>
              <a:r>
                <a:rPr lang="it-IT" sz="894" b="0">
                  <a:solidFill>
                    <a:srgbClr val="3C3C3B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rgbClr val="3C3C3B"/>
                  </a:solidFill>
                </a:rPr>
                <a:t>190-214-255</a:t>
              </a:r>
            </a:p>
          </p:txBody>
        </p:sp>
        <p:sp>
          <p:nvSpPr>
            <p:cNvPr id="64" name="Rettangolo 63"/>
            <p:cNvSpPr/>
            <p:nvPr userDrawn="1"/>
          </p:nvSpPr>
          <p:spPr>
            <a:xfrm>
              <a:off x="12380594" y="206111"/>
              <a:ext cx="1565034" cy="427349"/>
            </a:xfrm>
            <a:prstGeom prst="rect">
              <a:avLst/>
            </a:prstGeom>
            <a:solidFill>
              <a:srgbClr val="009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VERDE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158-71</a:t>
              </a:r>
            </a:p>
          </p:txBody>
        </p:sp>
      </p:grp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7" y="6498209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4" name="Triangolo isoscele 43"/>
          <p:cNvSpPr/>
          <p:nvPr/>
        </p:nvSpPr>
        <p:spPr>
          <a:xfrm rot="10800000">
            <a:off x="303128" y="-324736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5" name="Triangolo isoscele 44"/>
          <p:cNvSpPr/>
          <p:nvPr/>
        </p:nvSpPr>
        <p:spPr>
          <a:xfrm rot="10800000">
            <a:off x="11756536" y="-324736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6" name="Triangolo isoscele 45"/>
          <p:cNvSpPr/>
          <p:nvPr/>
        </p:nvSpPr>
        <p:spPr>
          <a:xfrm>
            <a:off x="303128" y="6950758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7" name="Triangolo isoscele 46"/>
          <p:cNvSpPr/>
          <p:nvPr/>
        </p:nvSpPr>
        <p:spPr>
          <a:xfrm>
            <a:off x="11756536" y="6950758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76037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76036" y="5982840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0" name="Triangolo isoscele 49"/>
          <p:cNvSpPr/>
          <p:nvPr/>
        </p:nvSpPr>
        <p:spPr>
          <a:xfrm rot="16200000">
            <a:off x="12331121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1" name="Triangolo isoscele 50"/>
          <p:cNvSpPr/>
          <p:nvPr/>
        </p:nvSpPr>
        <p:spPr>
          <a:xfrm rot="16200000">
            <a:off x="12331122" y="5982840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2" name="object 4">
            <a:extLst>
              <a:ext uri="{FF2B5EF4-FFF2-40B4-BE49-F238E27FC236}">
                <a16:creationId xmlns:a16="http://schemas.microsoft.com/office/drawing/2014/main" id="{ADE77F40-999C-41E7-B8D5-29B958BAE942}"/>
              </a:ext>
            </a:extLst>
          </p:cNvPr>
          <p:cNvSpPr/>
          <p:nvPr/>
        </p:nvSpPr>
        <p:spPr>
          <a:xfrm>
            <a:off x="11838775" y="6517486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7" name="Segnaposto numero diapositiva 5">
            <a:extLst>
              <a:ext uri="{FF2B5EF4-FFF2-40B4-BE49-F238E27FC236}">
                <a16:creationId xmlns:a16="http://schemas.microsoft.com/office/drawing/2014/main" id="{CC94EA79-BF17-4AC2-A1C9-D22D6C6A1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58" name="object 3">
            <a:extLst>
              <a:ext uri="{FF2B5EF4-FFF2-40B4-BE49-F238E27FC236}">
                <a16:creationId xmlns:a16="http://schemas.microsoft.com/office/drawing/2014/main" id="{BE86161E-4CFD-451E-BF0B-E26F80F2F44F}"/>
              </a:ext>
            </a:extLst>
          </p:cNvPr>
          <p:cNvSpPr/>
          <p:nvPr userDrawn="1"/>
        </p:nvSpPr>
        <p:spPr>
          <a:xfrm>
            <a:off x="11103686" y="6517486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</p:spTree>
    <p:extLst>
      <p:ext uri="{BB962C8B-B14F-4D97-AF65-F5344CB8AC3E}">
        <p14:creationId xmlns:p14="http://schemas.microsoft.com/office/powerpoint/2010/main" val="2277292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hf hdr="0" ftr="0" dt="0"/>
  <p:txStyles>
    <p:titleStyle>
      <a:lvl1pPr algn="l" defTabSz="742682" rtl="0" eaLnBrk="1" latinLnBrk="0" hangingPunct="1">
        <a:lnSpc>
          <a:spcPct val="90000"/>
        </a:lnSpc>
        <a:spcBef>
          <a:spcPct val="0"/>
        </a:spcBef>
        <a:buNone/>
        <a:defRPr sz="1949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671" indent="-185671" algn="l" defTabSz="742682" rtl="0" eaLnBrk="1" latinLnBrk="0" hangingPunct="1">
        <a:lnSpc>
          <a:spcPct val="90000"/>
        </a:lnSpc>
        <a:spcBef>
          <a:spcPts val="812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625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57011" indent="-185671" algn="l" defTabSz="742682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462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28351" indent="-185671" algn="l" defTabSz="742682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Font typeface="Arial" panose="020B0604020202020204" pitchFamily="34" charset="0"/>
        <a:buChar char="•"/>
        <a:defRPr lang="it-IT" sz="13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99692" indent="-185671" algn="l" defTabSz="742682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71034" indent="-185671" algn="l" defTabSz="742682" rtl="0" eaLnBrk="1" latinLnBrk="0" hangingPunct="1">
        <a:lnSpc>
          <a:spcPct val="90000"/>
        </a:lnSpc>
        <a:spcBef>
          <a:spcPts val="406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042375" indent="-185671" algn="l" defTabSz="742682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3715" indent="-185671" algn="l" defTabSz="742682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056" indent="-185671" algn="l" defTabSz="742682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6398" indent="-185671" algn="l" defTabSz="742682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41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682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023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363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704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045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386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0727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4">
          <p15:clr>
            <a:srgbClr val="9FCC3B"/>
          </p15:clr>
        </p15:guide>
        <p15:guide id="2" pos="5822">
          <p15:clr>
            <a:srgbClr val="F26B43"/>
          </p15:clr>
        </p15:guide>
        <p15:guide id="3" orient="horz" pos="3851">
          <p15:clr>
            <a:srgbClr val="9FCC3B"/>
          </p15:clr>
        </p15:guide>
        <p15:guide id="4" orient="horz" pos="640">
          <p15:clr>
            <a:srgbClr val="FBAE40"/>
          </p15:clr>
        </p15:guide>
        <p15:guide id="5" pos="355">
          <p15:clr>
            <a:srgbClr val="9FCC3B"/>
          </p15:clr>
        </p15:guide>
        <p15:guide id="6" pos="11288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957" y="1587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0" imgW="421" imgH="420" progId="TCLayout.ActiveDocument.1">
                  <p:embed/>
                </p:oleObj>
              </mc:Choice>
              <mc:Fallback>
                <p:oleObj name="Diapositiva think-cell" r:id="rId10" imgW="421" imgH="42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7" y="1587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riangolo isoscele 1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3" name="Triangolo isoscele 22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4" name="Triangolo isoscele 23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5" name="Triangolo isoscele 24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8" name="Triangolo isoscele 27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30" name="Triangolo isoscele 29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grpSp>
        <p:nvGrpSpPr>
          <p:cNvPr id="31" name="Gruppo 30"/>
          <p:cNvGrpSpPr/>
          <p:nvPr/>
        </p:nvGrpSpPr>
        <p:grpSpPr>
          <a:xfrm>
            <a:off x="472379" y="-684087"/>
            <a:ext cx="11214796" cy="600490"/>
            <a:chOff x="745213" y="206111"/>
            <a:chExt cx="13200415" cy="431729"/>
          </a:xfrm>
        </p:grpSpPr>
        <p:sp>
          <p:nvSpPr>
            <p:cNvPr id="32" name="Rettangolo 31"/>
            <p:cNvSpPr/>
            <p:nvPr userDrawn="1"/>
          </p:nvSpPr>
          <p:spPr>
            <a:xfrm>
              <a:off x="745213" y="206111"/>
              <a:ext cx="1565036" cy="427349"/>
            </a:xfrm>
            <a:prstGeom prst="rect">
              <a:avLst/>
            </a:prstGeom>
            <a:solidFill>
              <a:srgbClr val="EED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tx2"/>
                  </a:solidFill>
                </a:rPr>
                <a:t>GIALLO</a:t>
              </a:r>
            </a:p>
            <a:p>
              <a:pPr algn="ctr"/>
              <a:r>
                <a:rPr lang="it-IT" sz="894" b="1">
                  <a:solidFill>
                    <a:schemeClr val="tx2"/>
                  </a:solidFill>
                </a:rPr>
                <a:t>238-220-0</a:t>
              </a:r>
            </a:p>
          </p:txBody>
        </p:sp>
        <p:sp>
          <p:nvSpPr>
            <p:cNvPr id="33" name="Rettangolo 32"/>
            <p:cNvSpPr/>
            <p:nvPr userDrawn="1"/>
          </p:nvSpPr>
          <p:spPr>
            <a:xfrm>
              <a:off x="2407411" y="206111"/>
              <a:ext cx="1565036" cy="427349"/>
            </a:xfrm>
            <a:prstGeom prst="rect">
              <a:avLst/>
            </a:prstGeom>
            <a:solidFill>
              <a:srgbClr val="0047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1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71-187</a:t>
              </a:r>
            </a:p>
          </p:txBody>
        </p:sp>
        <p:sp>
          <p:nvSpPr>
            <p:cNvPr id="34" name="Rettangolo 33"/>
            <p:cNvSpPr/>
            <p:nvPr userDrawn="1"/>
          </p:nvSpPr>
          <p:spPr>
            <a:xfrm>
              <a:off x="7394007" y="210491"/>
              <a:ext cx="1565034" cy="427349"/>
            </a:xfrm>
            <a:prstGeom prst="rect">
              <a:avLst/>
            </a:prstGeom>
            <a:solidFill>
              <a:srgbClr val="3C3C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1 </a:t>
              </a:r>
              <a:br>
                <a:rPr lang="it-IT" sz="1137" b="1">
                  <a:solidFill>
                    <a:schemeClr val="bg1"/>
                  </a:solidFill>
                </a:rPr>
              </a:br>
              <a:r>
                <a:rPr lang="it-IT" sz="894" b="0">
                  <a:solidFill>
                    <a:schemeClr val="bg1"/>
                  </a:solidFill>
                </a:rPr>
                <a:t>(testo e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0-60-59</a:t>
              </a:r>
              <a:endParaRPr lang="it-IT" sz="1137" b="1">
                <a:solidFill>
                  <a:schemeClr val="bg1"/>
                </a:solidFill>
              </a:endParaRPr>
            </a:p>
          </p:txBody>
        </p:sp>
        <p:sp>
          <p:nvSpPr>
            <p:cNvPr id="35" name="Rettangolo 34"/>
            <p:cNvSpPr/>
            <p:nvPr userDrawn="1"/>
          </p:nvSpPr>
          <p:spPr>
            <a:xfrm>
              <a:off x="9056203" y="206111"/>
              <a:ext cx="1565034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2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112-111-111</a:t>
              </a:r>
            </a:p>
          </p:txBody>
        </p:sp>
        <p:sp>
          <p:nvSpPr>
            <p:cNvPr id="36" name="Rettangolo 35"/>
            <p:cNvSpPr/>
            <p:nvPr userDrawn="1"/>
          </p:nvSpPr>
          <p:spPr>
            <a:xfrm>
              <a:off x="10718399" y="206111"/>
              <a:ext cx="1565034" cy="42734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2">
                      <a:lumMod val="25000"/>
                    </a:schemeClr>
                  </a:solidFill>
                </a:rPr>
                <a:t>GRIGIO 3</a:t>
              </a:r>
            </a:p>
            <a:p>
              <a:pPr algn="ctr"/>
              <a:r>
                <a:rPr lang="it-IT" sz="894" b="1">
                  <a:solidFill>
                    <a:schemeClr val="bg2">
                      <a:lumMod val="25000"/>
                    </a:schemeClr>
                  </a:solidFill>
                </a:rPr>
                <a:t>192-192-192</a:t>
              </a:r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987A725F-B243-49F6-A2A5-CDF5B8502E26}"/>
                </a:ext>
              </a:extLst>
            </p:cNvPr>
            <p:cNvSpPr/>
            <p:nvPr userDrawn="1"/>
          </p:nvSpPr>
          <p:spPr>
            <a:xfrm>
              <a:off x="4069610" y="206111"/>
              <a:ext cx="1565036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2 </a:t>
              </a:r>
            </a:p>
            <a:p>
              <a:pPr algn="ctr"/>
              <a:r>
                <a:rPr lang="it-IT" sz="894" b="0">
                  <a:solidFill>
                    <a:schemeClr val="bg1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1-134-255</a:t>
              </a: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55D8F638-7BA9-49A8-98E3-F553E8E7488D}"/>
                </a:ext>
              </a:extLst>
            </p:cNvPr>
            <p:cNvSpPr/>
            <p:nvPr userDrawn="1"/>
          </p:nvSpPr>
          <p:spPr>
            <a:xfrm>
              <a:off x="5731808" y="206111"/>
              <a:ext cx="1565036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rgbClr val="3C3C3B"/>
                  </a:solidFill>
                </a:rPr>
                <a:t>BLU 2 </a:t>
              </a:r>
              <a:br>
                <a:rPr lang="it-IT" sz="1137" b="1">
                  <a:solidFill>
                    <a:srgbClr val="3C3C3B"/>
                  </a:solidFill>
                </a:rPr>
              </a:br>
              <a:r>
                <a:rPr lang="it-IT" sz="894" b="0">
                  <a:solidFill>
                    <a:srgbClr val="3C3C3B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rgbClr val="3C3C3B"/>
                  </a:solidFill>
                </a:rPr>
                <a:t>190-214-255</a:t>
              </a:r>
            </a:p>
          </p:txBody>
        </p:sp>
        <p:sp>
          <p:nvSpPr>
            <p:cNvPr id="64" name="Rettangolo 63"/>
            <p:cNvSpPr/>
            <p:nvPr userDrawn="1"/>
          </p:nvSpPr>
          <p:spPr>
            <a:xfrm>
              <a:off x="12380594" y="206111"/>
              <a:ext cx="1565034" cy="427349"/>
            </a:xfrm>
            <a:prstGeom prst="rect">
              <a:avLst/>
            </a:prstGeom>
            <a:solidFill>
              <a:srgbClr val="009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VERDE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158-71</a:t>
              </a:r>
            </a:p>
          </p:txBody>
        </p:sp>
      </p:grpSp>
      <p:sp>
        <p:nvSpPr>
          <p:cNvPr id="44" name="Triangolo isoscele 43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5" name="Triangolo isoscele 44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6" name="Triangolo isoscele 45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7" name="Triangolo isoscele 46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0" name="Triangolo isoscele 49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1" name="Triangolo isoscele 50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1" name="object 3">
            <a:extLst>
              <a:ext uri="{FF2B5EF4-FFF2-40B4-BE49-F238E27FC236}">
                <a16:creationId xmlns:a16="http://schemas.microsoft.com/office/drawing/2014/main" id="{AB9529F2-787A-4810-9C0F-4770FD0B6A5E}"/>
              </a:ext>
            </a:extLst>
          </p:cNvPr>
          <p:cNvSpPr/>
          <p:nvPr/>
        </p:nvSpPr>
        <p:spPr>
          <a:xfrm>
            <a:off x="11103687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42" name="object 4">
            <a:extLst>
              <a:ext uri="{FF2B5EF4-FFF2-40B4-BE49-F238E27FC236}">
                <a16:creationId xmlns:a16="http://schemas.microsoft.com/office/drawing/2014/main" id="{ADE77F40-999C-41E7-B8D5-29B958BAE942}"/>
              </a:ext>
            </a:extLst>
          </p:cNvPr>
          <p:cNvSpPr/>
          <p:nvPr/>
        </p:nvSpPr>
        <p:spPr>
          <a:xfrm>
            <a:off x="11838775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7" name="Segnaposto numero diapositiva 5">
            <a:extLst>
              <a:ext uri="{FF2B5EF4-FFF2-40B4-BE49-F238E27FC236}">
                <a16:creationId xmlns:a16="http://schemas.microsoft.com/office/drawing/2014/main" id="{CC94EA79-BF17-4AC2-A1C9-D22D6C6A1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1" y="6498254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31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742710" rtl="0" eaLnBrk="1" latinLnBrk="0" hangingPunct="1">
        <a:lnSpc>
          <a:spcPct val="90000"/>
        </a:lnSpc>
        <a:spcBef>
          <a:spcPct val="0"/>
        </a:spcBef>
        <a:buNone/>
        <a:defRPr sz="195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678" indent="-185678" algn="l" defTabSz="742710" rtl="0" eaLnBrk="1" latinLnBrk="0" hangingPunct="1">
        <a:lnSpc>
          <a:spcPct val="90000"/>
        </a:lnSpc>
        <a:spcBef>
          <a:spcPts val="812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625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57033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462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28387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Font typeface="Arial" panose="020B0604020202020204" pitchFamily="34" charset="0"/>
        <a:buChar char="•"/>
        <a:defRPr lang="it-IT" sz="13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99742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71098" indent="-185678" algn="l" defTabSz="742710" rtl="0" eaLnBrk="1" latinLnBrk="0" hangingPunct="1">
        <a:lnSpc>
          <a:spcPct val="90000"/>
        </a:lnSpc>
        <a:spcBef>
          <a:spcPts val="406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042452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3807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163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6518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5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71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06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42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77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13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48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084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4">
          <p15:clr>
            <a:srgbClr val="9FCC3B"/>
          </p15:clr>
        </p15:guide>
        <p15:guide id="2" pos="3840">
          <p15:clr>
            <a:srgbClr val="F26B43"/>
          </p15:clr>
        </p15:guide>
        <p15:guide id="3" orient="horz" pos="3851">
          <p15:clr>
            <a:srgbClr val="9FCC3B"/>
          </p15:clr>
        </p15:guide>
        <p15:guide id="4" orient="horz" pos="640">
          <p15:clr>
            <a:srgbClr val="FBAE40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957" y="1587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0" imgW="421" imgH="420" progId="TCLayout.ActiveDocument.1">
                  <p:embed/>
                </p:oleObj>
              </mc:Choice>
              <mc:Fallback>
                <p:oleObj name="Diapositiva think-cell" r:id="rId20" imgW="421" imgH="42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7" y="1587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riangolo isoscele 1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3" name="Triangolo isoscele 22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4" name="Triangolo isoscele 23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5" name="Triangolo isoscele 24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8" name="Triangolo isoscele 27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30" name="Triangolo isoscele 29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grpSp>
        <p:nvGrpSpPr>
          <p:cNvPr id="31" name="Gruppo 30"/>
          <p:cNvGrpSpPr/>
          <p:nvPr/>
        </p:nvGrpSpPr>
        <p:grpSpPr>
          <a:xfrm>
            <a:off x="472379" y="-684087"/>
            <a:ext cx="11214796" cy="600490"/>
            <a:chOff x="745213" y="206111"/>
            <a:chExt cx="13200415" cy="431729"/>
          </a:xfrm>
        </p:grpSpPr>
        <p:sp>
          <p:nvSpPr>
            <p:cNvPr id="32" name="Rettangolo 31"/>
            <p:cNvSpPr/>
            <p:nvPr userDrawn="1"/>
          </p:nvSpPr>
          <p:spPr>
            <a:xfrm>
              <a:off x="745213" y="206111"/>
              <a:ext cx="1565036" cy="427349"/>
            </a:xfrm>
            <a:prstGeom prst="rect">
              <a:avLst/>
            </a:prstGeom>
            <a:solidFill>
              <a:srgbClr val="EED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tx2"/>
                  </a:solidFill>
                </a:rPr>
                <a:t>GIALLO</a:t>
              </a:r>
            </a:p>
            <a:p>
              <a:pPr algn="ctr"/>
              <a:r>
                <a:rPr lang="it-IT" sz="894" b="1">
                  <a:solidFill>
                    <a:schemeClr val="tx2"/>
                  </a:solidFill>
                </a:rPr>
                <a:t>238-220-0</a:t>
              </a:r>
            </a:p>
          </p:txBody>
        </p:sp>
        <p:sp>
          <p:nvSpPr>
            <p:cNvPr id="33" name="Rettangolo 32"/>
            <p:cNvSpPr/>
            <p:nvPr userDrawn="1"/>
          </p:nvSpPr>
          <p:spPr>
            <a:xfrm>
              <a:off x="2407411" y="206111"/>
              <a:ext cx="1565036" cy="427349"/>
            </a:xfrm>
            <a:prstGeom prst="rect">
              <a:avLst/>
            </a:prstGeom>
            <a:solidFill>
              <a:srgbClr val="0047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1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71-187</a:t>
              </a:r>
            </a:p>
          </p:txBody>
        </p:sp>
        <p:sp>
          <p:nvSpPr>
            <p:cNvPr id="34" name="Rettangolo 33"/>
            <p:cNvSpPr/>
            <p:nvPr userDrawn="1"/>
          </p:nvSpPr>
          <p:spPr>
            <a:xfrm>
              <a:off x="7394007" y="210491"/>
              <a:ext cx="1565034" cy="427349"/>
            </a:xfrm>
            <a:prstGeom prst="rect">
              <a:avLst/>
            </a:prstGeom>
            <a:solidFill>
              <a:srgbClr val="3C3C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1 </a:t>
              </a:r>
              <a:br>
                <a:rPr lang="it-IT" sz="1137" b="1">
                  <a:solidFill>
                    <a:schemeClr val="bg1"/>
                  </a:solidFill>
                </a:rPr>
              </a:br>
              <a:r>
                <a:rPr lang="it-IT" sz="894" b="0">
                  <a:solidFill>
                    <a:schemeClr val="bg1"/>
                  </a:solidFill>
                </a:rPr>
                <a:t>(testo e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0-60-59</a:t>
              </a:r>
              <a:endParaRPr lang="it-IT" sz="1137" b="1">
                <a:solidFill>
                  <a:schemeClr val="bg1"/>
                </a:solidFill>
              </a:endParaRPr>
            </a:p>
          </p:txBody>
        </p:sp>
        <p:sp>
          <p:nvSpPr>
            <p:cNvPr id="35" name="Rettangolo 34"/>
            <p:cNvSpPr/>
            <p:nvPr userDrawn="1"/>
          </p:nvSpPr>
          <p:spPr>
            <a:xfrm>
              <a:off x="9056203" y="206111"/>
              <a:ext cx="1565034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2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112-111-111</a:t>
              </a:r>
            </a:p>
          </p:txBody>
        </p:sp>
        <p:sp>
          <p:nvSpPr>
            <p:cNvPr id="36" name="Rettangolo 35"/>
            <p:cNvSpPr/>
            <p:nvPr userDrawn="1"/>
          </p:nvSpPr>
          <p:spPr>
            <a:xfrm>
              <a:off x="10718399" y="206111"/>
              <a:ext cx="1565034" cy="42734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2">
                      <a:lumMod val="25000"/>
                    </a:schemeClr>
                  </a:solidFill>
                </a:rPr>
                <a:t>GRIGIO 3</a:t>
              </a:r>
            </a:p>
            <a:p>
              <a:pPr algn="ctr"/>
              <a:r>
                <a:rPr lang="it-IT" sz="894" b="1">
                  <a:solidFill>
                    <a:schemeClr val="bg2">
                      <a:lumMod val="25000"/>
                    </a:schemeClr>
                  </a:solidFill>
                </a:rPr>
                <a:t>192-192-192</a:t>
              </a:r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987A725F-B243-49F6-A2A5-CDF5B8502E26}"/>
                </a:ext>
              </a:extLst>
            </p:cNvPr>
            <p:cNvSpPr/>
            <p:nvPr userDrawn="1"/>
          </p:nvSpPr>
          <p:spPr>
            <a:xfrm>
              <a:off x="4069610" y="206111"/>
              <a:ext cx="1565036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2 </a:t>
              </a:r>
            </a:p>
            <a:p>
              <a:pPr algn="ctr"/>
              <a:r>
                <a:rPr lang="it-IT" sz="894" b="0">
                  <a:solidFill>
                    <a:schemeClr val="bg1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1-134-255</a:t>
              </a: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55D8F638-7BA9-49A8-98E3-F553E8E7488D}"/>
                </a:ext>
              </a:extLst>
            </p:cNvPr>
            <p:cNvSpPr/>
            <p:nvPr userDrawn="1"/>
          </p:nvSpPr>
          <p:spPr>
            <a:xfrm>
              <a:off x="5731808" y="206111"/>
              <a:ext cx="1565036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rgbClr val="3C3C3B"/>
                  </a:solidFill>
                </a:rPr>
                <a:t>BLU 2 </a:t>
              </a:r>
              <a:br>
                <a:rPr lang="it-IT" sz="1137" b="1">
                  <a:solidFill>
                    <a:srgbClr val="3C3C3B"/>
                  </a:solidFill>
                </a:rPr>
              </a:br>
              <a:r>
                <a:rPr lang="it-IT" sz="894" b="0">
                  <a:solidFill>
                    <a:srgbClr val="3C3C3B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rgbClr val="3C3C3B"/>
                  </a:solidFill>
                </a:rPr>
                <a:t>190-214-255</a:t>
              </a:r>
            </a:p>
          </p:txBody>
        </p:sp>
        <p:sp>
          <p:nvSpPr>
            <p:cNvPr id="64" name="Rettangolo 63"/>
            <p:cNvSpPr/>
            <p:nvPr userDrawn="1"/>
          </p:nvSpPr>
          <p:spPr>
            <a:xfrm>
              <a:off x="12380594" y="206111"/>
              <a:ext cx="1565034" cy="427349"/>
            </a:xfrm>
            <a:prstGeom prst="rect">
              <a:avLst/>
            </a:prstGeom>
            <a:solidFill>
              <a:srgbClr val="009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VERDE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158-71</a:t>
              </a:r>
            </a:p>
          </p:txBody>
        </p:sp>
      </p:grp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4" name="Triangolo isoscele 43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5" name="Triangolo isoscele 44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6" name="Triangolo isoscele 45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7" name="Triangolo isoscele 46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0" name="Triangolo isoscele 49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1" name="Triangolo isoscele 50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1" name="object 3">
            <a:extLst>
              <a:ext uri="{FF2B5EF4-FFF2-40B4-BE49-F238E27FC236}">
                <a16:creationId xmlns:a16="http://schemas.microsoft.com/office/drawing/2014/main" id="{AB9529F2-787A-4810-9C0F-4770FD0B6A5E}"/>
              </a:ext>
            </a:extLst>
          </p:cNvPr>
          <p:cNvSpPr/>
          <p:nvPr/>
        </p:nvSpPr>
        <p:spPr>
          <a:xfrm>
            <a:off x="11103687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42" name="object 4">
            <a:extLst>
              <a:ext uri="{FF2B5EF4-FFF2-40B4-BE49-F238E27FC236}">
                <a16:creationId xmlns:a16="http://schemas.microsoft.com/office/drawing/2014/main" id="{ADE77F40-999C-41E7-B8D5-29B958BAE942}"/>
              </a:ext>
            </a:extLst>
          </p:cNvPr>
          <p:cNvSpPr/>
          <p:nvPr/>
        </p:nvSpPr>
        <p:spPr>
          <a:xfrm>
            <a:off x="11838775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7" name="Segnaposto numero diapositiva 5">
            <a:extLst>
              <a:ext uri="{FF2B5EF4-FFF2-40B4-BE49-F238E27FC236}">
                <a16:creationId xmlns:a16="http://schemas.microsoft.com/office/drawing/2014/main" id="{CC94EA79-BF17-4AC2-A1C9-D22D6C6A1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1" y="6498254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17243E7F-85A4-4147-93CD-5F4A91203DC2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9942334" y="4547567"/>
            <a:ext cx="4248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ZIONI RISERVATE EX ART.7 CCNL 30 NOV 2017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3626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742710" rtl="0" eaLnBrk="1" latinLnBrk="0" hangingPunct="1">
        <a:lnSpc>
          <a:spcPct val="90000"/>
        </a:lnSpc>
        <a:spcBef>
          <a:spcPct val="0"/>
        </a:spcBef>
        <a:buNone/>
        <a:defRPr sz="195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678" indent="-185678" algn="l" defTabSz="742710" rtl="0" eaLnBrk="1" latinLnBrk="0" hangingPunct="1">
        <a:lnSpc>
          <a:spcPct val="90000"/>
        </a:lnSpc>
        <a:spcBef>
          <a:spcPts val="812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625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57033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462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28387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Font typeface="Arial" panose="020B0604020202020204" pitchFamily="34" charset="0"/>
        <a:buChar char="•"/>
        <a:defRPr lang="it-IT" sz="13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99742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71098" indent="-185678" algn="l" defTabSz="742710" rtl="0" eaLnBrk="1" latinLnBrk="0" hangingPunct="1">
        <a:lnSpc>
          <a:spcPct val="90000"/>
        </a:lnSpc>
        <a:spcBef>
          <a:spcPts val="406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042452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3807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163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6518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5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71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06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42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77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13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48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084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4">
          <p15:clr>
            <a:srgbClr val="9FCC3B"/>
          </p15:clr>
        </p15:guide>
        <p15:guide id="2" pos="3840">
          <p15:clr>
            <a:srgbClr val="F26B43"/>
          </p15:clr>
        </p15:guide>
        <p15:guide id="3" orient="horz" pos="3851">
          <p15:clr>
            <a:srgbClr val="9FCC3B"/>
          </p15:clr>
        </p15:guide>
        <p15:guide id="4" orient="horz" pos="640">
          <p15:clr>
            <a:srgbClr val="FBAE40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957" y="1587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8" imgW="421" imgH="420" progId="TCLayout.ActiveDocument.1">
                  <p:embed/>
                </p:oleObj>
              </mc:Choice>
              <mc:Fallback>
                <p:oleObj name="Diapositiva think-cell" r:id="rId8" imgW="421" imgH="42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57" y="1587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riangolo isoscele 1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3" name="Triangolo isoscele 22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4" name="Triangolo isoscele 23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5" name="Triangolo isoscele 24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8" name="Triangolo isoscele 27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30" name="Triangolo isoscele 29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grpSp>
        <p:nvGrpSpPr>
          <p:cNvPr id="31" name="Gruppo 30"/>
          <p:cNvGrpSpPr/>
          <p:nvPr/>
        </p:nvGrpSpPr>
        <p:grpSpPr>
          <a:xfrm>
            <a:off x="472379" y="-684087"/>
            <a:ext cx="11214796" cy="600490"/>
            <a:chOff x="745213" y="206111"/>
            <a:chExt cx="13200415" cy="431729"/>
          </a:xfrm>
        </p:grpSpPr>
        <p:sp>
          <p:nvSpPr>
            <p:cNvPr id="32" name="Rettangolo 31"/>
            <p:cNvSpPr/>
            <p:nvPr userDrawn="1"/>
          </p:nvSpPr>
          <p:spPr>
            <a:xfrm>
              <a:off x="745213" y="206111"/>
              <a:ext cx="1565036" cy="427349"/>
            </a:xfrm>
            <a:prstGeom prst="rect">
              <a:avLst/>
            </a:prstGeom>
            <a:solidFill>
              <a:srgbClr val="EED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tx2"/>
                  </a:solidFill>
                </a:rPr>
                <a:t>GIALLO</a:t>
              </a:r>
            </a:p>
            <a:p>
              <a:pPr algn="ctr"/>
              <a:r>
                <a:rPr lang="it-IT" sz="894" b="1">
                  <a:solidFill>
                    <a:schemeClr val="tx2"/>
                  </a:solidFill>
                </a:rPr>
                <a:t>238-220-0</a:t>
              </a:r>
            </a:p>
          </p:txBody>
        </p:sp>
        <p:sp>
          <p:nvSpPr>
            <p:cNvPr id="33" name="Rettangolo 32"/>
            <p:cNvSpPr/>
            <p:nvPr userDrawn="1"/>
          </p:nvSpPr>
          <p:spPr>
            <a:xfrm>
              <a:off x="2407411" y="206111"/>
              <a:ext cx="1565036" cy="427349"/>
            </a:xfrm>
            <a:prstGeom prst="rect">
              <a:avLst/>
            </a:prstGeom>
            <a:solidFill>
              <a:srgbClr val="0047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1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71-187</a:t>
              </a:r>
            </a:p>
          </p:txBody>
        </p:sp>
        <p:sp>
          <p:nvSpPr>
            <p:cNvPr id="34" name="Rettangolo 33"/>
            <p:cNvSpPr/>
            <p:nvPr userDrawn="1"/>
          </p:nvSpPr>
          <p:spPr>
            <a:xfrm>
              <a:off x="7394007" y="210491"/>
              <a:ext cx="1565034" cy="427349"/>
            </a:xfrm>
            <a:prstGeom prst="rect">
              <a:avLst/>
            </a:prstGeom>
            <a:solidFill>
              <a:srgbClr val="3C3C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1 </a:t>
              </a:r>
              <a:br>
                <a:rPr lang="it-IT" sz="1137" b="1">
                  <a:solidFill>
                    <a:schemeClr val="bg1"/>
                  </a:solidFill>
                </a:rPr>
              </a:br>
              <a:r>
                <a:rPr lang="it-IT" sz="894" b="0">
                  <a:solidFill>
                    <a:schemeClr val="bg1"/>
                  </a:solidFill>
                </a:rPr>
                <a:t>(testo e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0-60-59</a:t>
              </a:r>
              <a:endParaRPr lang="it-IT" sz="1137" b="1">
                <a:solidFill>
                  <a:schemeClr val="bg1"/>
                </a:solidFill>
              </a:endParaRPr>
            </a:p>
          </p:txBody>
        </p:sp>
        <p:sp>
          <p:nvSpPr>
            <p:cNvPr id="35" name="Rettangolo 34"/>
            <p:cNvSpPr/>
            <p:nvPr userDrawn="1"/>
          </p:nvSpPr>
          <p:spPr>
            <a:xfrm>
              <a:off x="9056203" y="206111"/>
              <a:ext cx="1565034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2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112-111-111</a:t>
              </a:r>
            </a:p>
          </p:txBody>
        </p:sp>
        <p:sp>
          <p:nvSpPr>
            <p:cNvPr id="36" name="Rettangolo 35"/>
            <p:cNvSpPr/>
            <p:nvPr userDrawn="1"/>
          </p:nvSpPr>
          <p:spPr>
            <a:xfrm>
              <a:off x="10718399" y="206111"/>
              <a:ext cx="1565034" cy="42734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2">
                      <a:lumMod val="25000"/>
                    </a:schemeClr>
                  </a:solidFill>
                </a:rPr>
                <a:t>GRIGIO 3</a:t>
              </a:r>
            </a:p>
            <a:p>
              <a:pPr algn="ctr"/>
              <a:r>
                <a:rPr lang="it-IT" sz="894" b="1">
                  <a:solidFill>
                    <a:schemeClr val="bg2">
                      <a:lumMod val="25000"/>
                    </a:schemeClr>
                  </a:solidFill>
                </a:rPr>
                <a:t>192-192-192</a:t>
              </a:r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987A725F-B243-49F6-A2A5-CDF5B8502E26}"/>
                </a:ext>
              </a:extLst>
            </p:cNvPr>
            <p:cNvSpPr/>
            <p:nvPr userDrawn="1"/>
          </p:nvSpPr>
          <p:spPr>
            <a:xfrm>
              <a:off x="4069610" y="206111"/>
              <a:ext cx="1565036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2 </a:t>
              </a:r>
            </a:p>
            <a:p>
              <a:pPr algn="ctr"/>
              <a:r>
                <a:rPr lang="it-IT" sz="894" b="0">
                  <a:solidFill>
                    <a:schemeClr val="bg1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1-134-255</a:t>
              </a: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55D8F638-7BA9-49A8-98E3-F553E8E7488D}"/>
                </a:ext>
              </a:extLst>
            </p:cNvPr>
            <p:cNvSpPr/>
            <p:nvPr userDrawn="1"/>
          </p:nvSpPr>
          <p:spPr>
            <a:xfrm>
              <a:off x="5731808" y="206111"/>
              <a:ext cx="1565036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rgbClr val="3C3C3B"/>
                  </a:solidFill>
                </a:rPr>
                <a:t>BLU 2 </a:t>
              </a:r>
              <a:br>
                <a:rPr lang="it-IT" sz="1137" b="1">
                  <a:solidFill>
                    <a:srgbClr val="3C3C3B"/>
                  </a:solidFill>
                </a:rPr>
              </a:br>
              <a:r>
                <a:rPr lang="it-IT" sz="894" b="0">
                  <a:solidFill>
                    <a:srgbClr val="3C3C3B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rgbClr val="3C3C3B"/>
                  </a:solidFill>
                </a:rPr>
                <a:t>190-214-255</a:t>
              </a:r>
            </a:p>
          </p:txBody>
        </p:sp>
        <p:sp>
          <p:nvSpPr>
            <p:cNvPr id="64" name="Rettangolo 63"/>
            <p:cNvSpPr/>
            <p:nvPr userDrawn="1"/>
          </p:nvSpPr>
          <p:spPr>
            <a:xfrm>
              <a:off x="12380594" y="206111"/>
              <a:ext cx="1565034" cy="427349"/>
            </a:xfrm>
            <a:prstGeom prst="rect">
              <a:avLst/>
            </a:prstGeom>
            <a:solidFill>
              <a:srgbClr val="009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VERDE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158-71</a:t>
              </a:r>
            </a:p>
          </p:txBody>
        </p:sp>
      </p:grp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6" y="6498255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4" name="Triangolo isoscele 43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5" name="Triangolo isoscele 44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6" name="Triangolo isoscele 45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7" name="Triangolo isoscele 46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0" name="Triangolo isoscele 49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1" name="Triangolo isoscele 50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1" name="object 3">
            <a:extLst>
              <a:ext uri="{FF2B5EF4-FFF2-40B4-BE49-F238E27FC236}">
                <a16:creationId xmlns:a16="http://schemas.microsoft.com/office/drawing/2014/main" id="{AB9529F2-787A-4810-9C0F-4770FD0B6A5E}"/>
              </a:ext>
            </a:extLst>
          </p:cNvPr>
          <p:cNvSpPr/>
          <p:nvPr/>
        </p:nvSpPr>
        <p:spPr>
          <a:xfrm>
            <a:off x="11103687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42" name="object 4">
            <a:extLst>
              <a:ext uri="{FF2B5EF4-FFF2-40B4-BE49-F238E27FC236}">
                <a16:creationId xmlns:a16="http://schemas.microsoft.com/office/drawing/2014/main" id="{ADE77F40-999C-41E7-B8D5-29B958BAE942}"/>
              </a:ext>
            </a:extLst>
          </p:cNvPr>
          <p:cNvSpPr/>
          <p:nvPr/>
        </p:nvSpPr>
        <p:spPr>
          <a:xfrm>
            <a:off x="11838775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7" name="Segnaposto numero diapositiva 5">
            <a:extLst>
              <a:ext uri="{FF2B5EF4-FFF2-40B4-BE49-F238E27FC236}">
                <a16:creationId xmlns:a16="http://schemas.microsoft.com/office/drawing/2014/main" id="{CC94EA79-BF17-4AC2-A1C9-D22D6C6A1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1" y="6498254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17243E7F-85A4-4147-93CD-5F4A91203DC2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9942334" y="4547567"/>
            <a:ext cx="4248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ZIONI RISERVATE EX ART.7 CCNL 23 GIU 2021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19164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742710" rtl="0" eaLnBrk="1" latinLnBrk="0" hangingPunct="1">
        <a:lnSpc>
          <a:spcPct val="90000"/>
        </a:lnSpc>
        <a:spcBef>
          <a:spcPct val="0"/>
        </a:spcBef>
        <a:buNone/>
        <a:defRPr sz="195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678" indent="-185678" algn="l" defTabSz="742710" rtl="0" eaLnBrk="1" latinLnBrk="0" hangingPunct="1">
        <a:lnSpc>
          <a:spcPct val="90000"/>
        </a:lnSpc>
        <a:spcBef>
          <a:spcPts val="812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625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57033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462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28387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Font typeface="Arial" panose="020B0604020202020204" pitchFamily="34" charset="0"/>
        <a:buChar char="•"/>
        <a:defRPr lang="it-IT" sz="13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99742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71098" indent="-185678" algn="l" defTabSz="742710" rtl="0" eaLnBrk="1" latinLnBrk="0" hangingPunct="1">
        <a:lnSpc>
          <a:spcPct val="90000"/>
        </a:lnSpc>
        <a:spcBef>
          <a:spcPts val="406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042452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3807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163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6518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5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71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06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42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77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13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48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084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4">
          <p15:clr>
            <a:srgbClr val="9FCC3B"/>
          </p15:clr>
        </p15:guide>
        <p15:guide id="2" pos="3840">
          <p15:clr>
            <a:srgbClr val="F26B43"/>
          </p15:clr>
        </p15:guide>
        <p15:guide id="3" orient="horz" pos="3851">
          <p15:clr>
            <a:srgbClr val="9FCC3B"/>
          </p15:clr>
        </p15:guide>
        <p15:guide id="4" orient="horz" pos="640">
          <p15:clr>
            <a:srgbClr val="FBAE40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1" imgW="175" imgH="175" progId="TCLayout.ActiveDocument.1">
                  <p:embed/>
                </p:oleObj>
              </mc:Choice>
              <mc:Fallback>
                <p:oleObj name="Diapositiva think-cell" r:id="rId11" imgW="175" imgH="175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riangolo isoscele 1"/>
          <p:cNvSpPr/>
          <p:nvPr/>
        </p:nvSpPr>
        <p:spPr>
          <a:xfrm rot="10800000">
            <a:off x="303128" y="-324736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3" name="Triangolo isoscele 22"/>
          <p:cNvSpPr/>
          <p:nvPr/>
        </p:nvSpPr>
        <p:spPr>
          <a:xfrm rot="10800000">
            <a:off x="11756536" y="-324736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4" name="Triangolo isoscele 23"/>
          <p:cNvSpPr/>
          <p:nvPr/>
        </p:nvSpPr>
        <p:spPr>
          <a:xfrm>
            <a:off x="303128" y="6950758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5" name="Triangolo isoscele 24"/>
          <p:cNvSpPr/>
          <p:nvPr/>
        </p:nvSpPr>
        <p:spPr>
          <a:xfrm>
            <a:off x="11756536" y="6950758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76037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76036" y="5982840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8" name="Triangolo isoscele 27"/>
          <p:cNvSpPr/>
          <p:nvPr/>
        </p:nvSpPr>
        <p:spPr>
          <a:xfrm rot="16200000">
            <a:off x="12331121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30" name="Triangolo isoscele 29"/>
          <p:cNvSpPr/>
          <p:nvPr/>
        </p:nvSpPr>
        <p:spPr>
          <a:xfrm rot="16200000">
            <a:off x="12331122" y="5982840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grpSp>
        <p:nvGrpSpPr>
          <p:cNvPr id="31" name="Gruppo 30"/>
          <p:cNvGrpSpPr/>
          <p:nvPr/>
        </p:nvGrpSpPr>
        <p:grpSpPr>
          <a:xfrm>
            <a:off x="472379" y="-684087"/>
            <a:ext cx="11214796" cy="600490"/>
            <a:chOff x="745213" y="206111"/>
            <a:chExt cx="13200415" cy="431729"/>
          </a:xfrm>
        </p:grpSpPr>
        <p:sp>
          <p:nvSpPr>
            <p:cNvPr id="32" name="Rettangolo 31"/>
            <p:cNvSpPr/>
            <p:nvPr userDrawn="1"/>
          </p:nvSpPr>
          <p:spPr>
            <a:xfrm>
              <a:off x="745213" y="206111"/>
              <a:ext cx="1565036" cy="427349"/>
            </a:xfrm>
            <a:prstGeom prst="rect">
              <a:avLst/>
            </a:prstGeom>
            <a:solidFill>
              <a:srgbClr val="EED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tx2"/>
                  </a:solidFill>
                </a:rPr>
                <a:t>GIALLO</a:t>
              </a:r>
            </a:p>
            <a:p>
              <a:pPr algn="ctr"/>
              <a:r>
                <a:rPr lang="it-IT" sz="894" b="1">
                  <a:solidFill>
                    <a:schemeClr val="tx2"/>
                  </a:solidFill>
                </a:rPr>
                <a:t>238-220-0</a:t>
              </a:r>
            </a:p>
          </p:txBody>
        </p:sp>
        <p:sp>
          <p:nvSpPr>
            <p:cNvPr id="33" name="Rettangolo 32"/>
            <p:cNvSpPr/>
            <p:nvPr userDrawn="1"/>
          </p:nvSpPr>
          <p:spPr>
            <a:xfrm>
              <a:off x="2407411" y="206111"/>
              <a:ext cx="1565036" cy="427349"/>
            </a:xfrm>
            <a:prstGeom prst="rect">
              <a:avLst/>
            </a:prstGeom>
            <a:solidFill>
              <a:srgbClr val="0047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1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71-187</a:t>
              </a:r>
            </a:p>
          </p:txBody>
        </p:sp>
        <p:sp>
          <p:nvSpPr>
            <p:cNvPr id="34" name="Rettangolo 33"/>
            <p:cNvSpPr/>
            <p:nvPr userDrawn="1"/>
          </p:nvSpPr>
          <p:spPr>
            <a:xfrm>
              <a:off x="7394007" y="210491"/>
              <a:ext cx="1565034" cy="427349"/>
            </a:xfrm>
            <a:prstGeom prst="rect">
              <a:avLst/>
            </a:prstGeom>
            <a:solidFill>
              <a:srgbClr val="3C3C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1 </a:t>
              </a:r>
              <a:br>
                <a:rPr lang="it-IT" sz="1137" b="1">
                  <a:solidFill>
                    <a:schemeClr val="bg1"/>
                  </a:solidFill>
                </a:rPr>
              </a:br>
              <a:r>
                <a:rPr lang="it-IT" sz="894" b="0">
                  <a:solidFill>
                    <a:schemeClr val="bg1"/>
                  </a:solidFill>
                </a:rPr>
                <a:t>(testo e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0-60-59</a:t>
              </a:r>
              <a:endParaRPr lang="it-IT" sz="1137" b="1">
                <a:solidFill>
                  <a:schemeClr val="bg1"/>
                </a:solidFill>
              </a:endParaRPr>
            </a:p>
          </p:txBody>
        </p:sp>
        <p:sp>
          <p:nvSpPr>
            <p:cNvPr id="35" name="Rettangolo 34"/>
            <p:cNvSpPr/>
            <p:nvPr userDrawn="1"/>
          </p:nvSpPr>
          <p:spPr>
            <a:xfrm>
              <a:off x="9056203" y="206111"/>
              <a:ext cx="1565034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2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112-111-111</a:t>
              </a:r>
            </a:p>
          </p:txBody>
        </p:sp>
        <p:sp>
          <p:nvSpPr>
            <p:cNvPr id="36" name="Rettangolo 35"/>
            <p:cNvSpPr/>
            <p:nvPr userDrawn="1"/>
          </p:nvSpPr>
          <p:spPr>
            <a:xfrm>
              <a:off x="10718399" y="206111"/>
              <a:ext cx="1565034" cy="42734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2">
                      <a:lumMod val="25000"/>
                    </a:schemeClr>
                  </a:solidFill>
                </a:rPr>
                <a:t>GRIGIO 3</a:t>
              </a:r>
            </a:p>
            <a:p>
              <a:pPr algn="ctr"/>
              <a:r>
                <a:rPr lang="it-IT" sz="894" b="1">
                  <a:solidFill>
                    <a:schemeClr val="bg2">
                      <a:lumMod val="25000"/>
                    </a:schemeClr>
                  </a:solidFill>
                </a:rPr>
                <a:t>192-192-192</a:t>
              </a:r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987A725F-B243-49F6-A2A5-CDF5B8502E26}"/>
                </a:ext>
              </a:extLst>
            </p:cNvPr>
            <p:cNvSpPr/>
            <p:nvPr userDrawn="1"/>
          </p:nvSpPr>
          <p:spPr>
            <a:xfrm>
              <a:off x="4069610" y="206111"/>
              <a:ext cx="1565036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2 </a:t>
              </a:r>
            </a:p>
            <a:p>
              <a:pPr algn="ctr"/>
              <a:r>
                <a:rPr lang="it-IT" sz="894" b="0">
                  <a:solidFill>
                    <a:schemeClr val="bg1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1-134-255</a:t>
              </a: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55D8F638-7BA9-49A8-98E3-F553E8E7488D}"/>
                </a:ext>
              </a:extLst>
            </p:cNvPr>
            <p:cNvSpPr/>
            <p:nvPr userDrawn="1"/>
          </p:nvSpPr>
          <p:spPr>
            <a:xfrm>
              <a:off x="5731808" y="206111"/>
              <a:ext cx="1565036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rgbClr val="3C3C3B"/>
                  </a:solidFill>
                </a:rPr>
                <a:t>BLU 2 </a:t>
              </a:r>
              <a:br>
                <a:rPr lang="it-IT" sz="1137" b="1">
                  <a:solidFill>
                    <a:srgbClr val="3C3C3B"/>
                  </a:solidFill>
                </a:rPr>
              </a:br>
              <a:r>
                <a:rPr lang="it-IT" sz="894" b="0">
                  <a:solidFill>
                    <a:srgbClr val="3C3C3B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rgbClr val="3C3C3B"/>
                  </a:solidFill>
                </a:rPr>
                <a:t>190-214-255</a:t>
              </a:r>
            </a:p>
          </p:txBody>
        </p:sp>
        <p:sp>
          <p:nvSpPr>
            <p:cNvPr id="64" name="Rettangolo 63"/>
            <p:cNvSpPr/>
            <p:nvPr userDrawn="1"/>
          </p:nvSpPr>
          <p:spPr>
            <a:xfrm>
              <a:off x="12380594" y="206111"/>
              <a:ext cx="1565034" cy="427349"/>
            </a:xfrm>
            <a:prstGeom prst="rect">
              <a:avLst/>
            </a:prstGeom>
            <a:solidFill>
              <a:srgbClr val="009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VERDE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158-71</a:t>
              </a:r>
            </a:p>
          </p:txBody>
        </p:sp>
      </p:grp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827" y="6498209"/>
            <a:ext cx="1801564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4" name="Triangolo isoscele 43"/>
          <p:cNvSpPr/>
          <p:nvPr/>
        </p:nvSpPr>
        <p:spPr>
          <a:xfrm rot="10800000">
            <a:off x="303128" y="-324736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5" name="Triangolo isoscele 44"/>
          <p:cNvSpPr/>
          <p:nvPr/>
        </p:nvSpPr>
        <p:spPr>
          <a:xfrm rot="10800000">
            <a:off x="11756536" y="-324736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6" name="Triangolo isoscele 45"/>
          <p:cNvSpPr/>
          <p:nvPr/>
        </p:nvSpPr>
        <p:spPr>
          <a:xfrm>
            <a:off x="303128" y="6950758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7" name="Triangolo isoscele 46"/>
          <p:cNvSpPr/>
          <p:nvPr/>
        </p:nvSpPr>
        <p:spPr>
          <a:xfrm>
            <a:off x="11756536" y="6950758"/>
            <a:ext cx="132337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76037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76036" y="5982840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0" name="Triangolo isoscele 49"/>
          <p:cNvSpPr/>
          <p:nvPr/>
        </p:nvSpPr>
        <p:spPr>
          <a:xfrm rot="16200000">
            <a:off x="12331121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1" name="Triangolo isoscele 50"/>
          <p:cNvSpPr/>
          <p:nvPr/>
        </p:nvSpPr>
        <p:spPr>
          <a:xfrm rot="16200000">
            <a:off x="12331122" y="5982840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4" tIns="37132" rIns="74264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2" name="object 4">
            <a:extLst>
              <a:ext uri="{FF2B5EF4-FFF2-40B4-BE49-F238E27FC236}">
                <a16:creationId xmlns:a16="http://schemas.microsoft.com/office/drawing/2014/main" id="{ADE77F40-999C-41E7-B8D5-29B958BAE942}"/>
              </a:ext>
            </a:extLst>
          </p:cNvPr>
          <p:cNvSpPr/>
          <p:nvPr/>
        </p:nvSpPr>
        <p:spPr>
          <a:xfrm>
            <a:off x="11838775" y="6517486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7" name="Segnaposto numero diapositiva 5">
            <a:extLst>
              <a:ext uri="{FF2B5EF4-FFF2-40B4-BE49-F238E27FC236}">
                <a16:creationId xmlns:a16="http://schemas.microsoft.com/office/drawing/2014/main" id="{CC94EA79-BF17-4AC2-A1C9-D22D6C6A1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3" y="6498208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799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58" name="object 3">
            <a:extLst>
              <a:ext uri="{FF2B5EF4-FFF2-40B4-BE49-F238E27FC236}">
                <a16:creationId xmlns:a16="http://schemas.microsoft.com/office/drawing/2014/main" id="{BE86161E-4CFD-451E-BF0B-E26F80F2F44F}"/>
              </a:ext>
            </a:extLst>
          </p:cNvPr>
          <p:cNvSpPr/>
          <p:nvPr userDrawn="1"/>
        </p:nvSpPr>
        <p:spPr>
          <a:xfrm>
            <a:off x="11103686" y="6517486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</p:spTree>
    <p:extLst>
      <p:ext uri="{BB962C8B-B14F-4D97-AF65-F5344CB8AC3E}">
        <p14:creationId xmlns:p14="http://schemas.microsoft.com/office/powerpoint/2010/main" val="920296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</p:sldLayoutIdLst>
  <p:hf hdr="0" ftr="0" dt="0"/>
  <p:txStyles>
    <p:titleStyle>
      <a:lvl1pPr algn="l" defTabSz="742682" rtl="0" eaLnBrk="1" latinLnBrk="0" hangingPunct="1">
        <a:lnSpc>
          <a:spcPct val="90000"/>
        </a:lnSpc>
        <a:spcBef>
          <a:spcPct val="0"/>
        </a:spcBef>
        <a:buNone/>
        <a:defRPr sz="1949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671" indent="-185671" algn="l" defTabSz="742682" rtl="0" eaLnBrk="1" latinLnBrk="0" hangingPunct="1">
        <a:lnSpc>
          <a:spcPct val="90000"/>
        </a:lnSpc>
        <a:spcBef>
          <a:spcPts val="812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625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57011" indent="-185671" algn="l" defTabSz="742682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462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28351" indent="-185671" algn="l" defTabSz="742682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Font typeface="Arial" panose="020B0604020202020204" pitchFamily="34" charset="0"/>
        <a:buChar char="•"/>
        <a:defRPr lang="it-IT" sz="13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99692" indent="-185671" algn="l" defTabSz="742682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71034" indent="-185671" algn="l" defTabSz="742682" rtl="0" eaLnBrk="1" latinLnBrk="0" hangingPunct="1">
        <a:lnSpc>
          <a:spcPct val="90000"/>
        </a:lnSpc>
        <a:spcBef>
          <a:spcPts val="406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042375" indent="-185671" algn="l" defTabSz="742682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3715" indent="-185671" algn="l" defTabSz="742682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056" indent="-185671" algn="l" defTabSz="742682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6398" indent="-185671" algn="l" defTabSz="742682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41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682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023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363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704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045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386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0727" algn="l" defTabSz="74268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4">
          <p15:clr>
            <a:srgbClr val="9FCC3B"/>
          </p15:clr>
        </p15:guide>
        <p15:guide id="2" pos="5822">
          <p15:clr>
            <a:srgbClr val="F26B43"/>
          </p15:clr>
        </p15:guide>
        <p15:guide id="3" orient="horz" pos="3851">
          <p15:clr>
            <a:srgbClr val="9FCC3B"/>
          </p15:clr>
        </p15:guide>
        <p15:guide id="4" orient="horz" pos="640">
          <p15:clr>
            <a:srgbClr val="FBAE40"/>
          </p15:clr>
        </p15:guide>
        <p15:guide id="5" pos="355">
          <p15:clr>
            <a:srgbClr val="9FCC3B"/>
          </p15:clr>
        </p15:guide>
        <p15:guide id="6" pos="11288">
          <p15:clr>
            <a:srgbClr val="9FCC3B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8" imgW="270" imgH="270" progId="TCLayout.ActiveDocument.1">
                  <p:embed/>
                </p:oleObj>
              </mc:Choice>
              <mc:Fallback>
                <p:oleObj name="Diapositiva think-cell" r:id="rId18" imgW="270" imgH="270" progId="TCLayout.ActiveDocument.1">
                  <p:embed/>
                  <p:pic>
                    <p:nvPicPr>
                      <p:cNvPr id="5" name="Oggetto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o 2"/>
          <p:cNvGrpSpPr/>
          <p:nvPr/>
        </p:nvGrpSpPr>
        <p:grpSpPr>
          <a:xfrm>
            <a:off x="914400" y="-602994"/>
            <a:ext cx="10358077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11448003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371475" y="101600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5" name="Rettangolo 14"/>
          <p:cNvSpPr/>
          <p:nvPr/>
        </p:nvSpPr>
        <p:spPr>
          <a:xfrm rot="10800000">
            <a:off x="-1" y="6498212"/>
            <a:ext cx="626456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8" name="Rettangolo 17"/>
          <p:cNvSpPr/>
          <p:nvPr/>
        </p:nvSpPr>
        <p:spPr>
          <a:xfrm>
            <a:off x="11448797" y="6498209"/>
            <a:ext cx="97347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11546141" y="6498206"/>
            <a:ext cx="645859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544556" y="6498212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cxnSp>
        <p:nvCxnSpPr>
          <p:cNvPr id="22" name="Connettore diritto 21"/>
          <p:cNvCxnSpPr/>
          <p:nvPr/>
        </p:nvCxnSpPr>
        <p:spPr>
          <a:xfrm>
            <a:off x="11544556" y="745215"/>
            <a:ext cx="647445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3" name="Triangolo isoscele 22"/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4" name="Triangolo isoscele 23"/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5" name="Triangolo isoscele 24"/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76040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76039" y="5982840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8" name="Triangolo isoscele 27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Triangolo isoscele 29"/>
          <p:cNvSpPr/>
          <p:nvPr/>
        </p:nvSpPr>
        <p:spPr>
          <a:xfrm rot="16200000">
            <a:off x="12331120" y="5982840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914400" y="-602994"/>
            <a:ext cx="10358077" cy="431729"/>
            <a:chOff x="1" y="-602994"/>
            <a:chExt cx="12191999" cy="431729"/>
          </a:xfrm>
        </p:grpSpPr>
        <p:sp>
          <p:nvSpPr>
            <p:cNvPr id="32" name="Rettangolo 31"/>
            <p:cNvSpPr/>
            <p:nvPr userDrawn="1"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 userDrawn="1"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 userDrawn="1"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35" name="Rettangolo 34"/>
            <p:cNvSpPr/>
            <p:nvPr userDrawn="1"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 userDrawn="1"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11448003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ttangolo 38"/>
          <p:cNvSpPr/>
          <p:nvPr/>
        </p:nvSpPr>
        <p:spPr>
          <a:xfrm rot="10800000">
            <a:off x="-1" y="6498212"/>
            <a:ext cx="626456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1" name="Rettangolo 40"/>
          <p:cNvSpPr/>
          <p:nvPr/>
        </p:nvSpPr>
        <p:spPr>
          <a:xfrm>
            <a:off x="11448797" y="6498209"/>
            <a:ext cx="97347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11546141" y="6498206"/>
            <a:ext cx="645859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/>
        </p:nvCxnSpPr>
        <p:spPr>
          <a:xfrm>
            <a:off x="11544556" y="745215"/>
            <a:ext cx="647445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5" name="Triangolo isoscele 44"/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6" name="Triangolo isoscele 45"/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7" name="Triangolo isoscele 46"/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76040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76039" y="5982840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0" name="Triangolo isoscele 49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1" name="Triangolo isoscele 50"/>
          <p:cNvSpPr/>
          <p:nvPr/>
        </p:nvSpPr>
        <p:spPr>
          <a:xfrm rot="16200000">
            <a:off x="12331120" y="5982840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2" name="Rettangolo 51"/>
          <p:cNvSpPr/>
          <p:nvPr/>
        </p:nvSpPr>
        <p:spPr>
          <a:xfrm>
            <a:off x="3197806" y="6498213"/>
            <a:ext cx="8250991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53" name="Immagine 52" descr="PI_logo_o_RGB_p.jp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5389" y="6497638"/>
            <a:ext cx="2375611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54" name="Rectangle 17">
            <a:extLst>
              <a:ext uri="{FF2B5EF4-FFF2-40B4-BE49-F238E27FC236}">
                <a16:creationId xmlns:a16="http://schemas.microsoft.com/office/drawing/2014/main" id="{17243E7F-85A4-4147-93CD-5F4A91203DC2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9942334" y="4400087"/>
            <a:ext cx="4248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71563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ZIONI RISERVATE EX ART.7 CCNL 23 GIU 2021</a:t>
            </a:r>
          </a:p>
        </p:txBody>
      </p:sp>
    </p:spTree>
    <p:extLst>
      <p:ext uri="{BB962C8B-B14F-4D97-AF65-F5344CB8AC3E}">
        <p14:creationId xmlns:p14="http://schemas.microsoft.com/office/powerpoint/2010/main" val="139616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4">
          <p15:clr>
            <a:srgbClr val="9FCC3B"/>
          </p15:clr>
        </p15:guide>
        <p15:guide id="2" pos="2880">
          <p15:clr>
            <a:srgbClr val="F26B43"/>
          </p15:clr>
        </p15:guide>
        <p15:guide id="3" orient="horz" pos="3851">
          <p15:clr>
            <a:srgbClr val="9FCC3B"/>
          </p15:clr>
        </p15:guide>
        <p15:guide id="4" orient="horz" pos="640">
          <p15:clr>
            <a:srgbClr val="FBAE40"/>
          </p15:clr>
        </p15:guide>
        <p15:guide id="5" pos="176">
          <p15:clr>
            <a:srgbClr val="9FCC3B"/>
          </p15:clr>
        </p15:guide>
        <p15:guide id="6" pos="5585">
          <p15:clr>
            <a:srgbClr val="9FCC3B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7" y="1587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1" imgW="421" imgH="420" progId="TCLayout.ActiveDocument.1">
                  <p:embed/>
                </p:oleObj>
              </mc:Choice>
              <mc:Fallback>
                <p:oleObj name="Diapositiva think-cell" r:id="rId11" imgW="421" imgH="42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57" y="1587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riangolo isoscele 1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3" name="Triangolo isoscele 22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4" name="Triangolo isoscele 23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5" name="Triangolo isoscele 24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28" name="Triangolo isoscele 27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30" name="Triangolo isoscele 29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grpSp>
        <p:nvGrpSpPr>
          <p:cNvPr id="31" name="Gruppo 30"/>
          <p:cNvGrpSpPr/>
          <p:nvPr/>
        </p:nvGrpSpPr>
        <p:grpSpPr>
          <a:xfrm>
            <a:off x="472379" y="-684087"/>
            <a:ext cx="11214796" cy="600490"/>
            <a:chOff x="745213" y="206111"/>
            <a:chExt cx="13200415" cy="431729"/>
          </a:xfrm>
        </p:grpSpPr>
        <p:sp>
          <p:nvSpPr>
            <p:cNvPr id="32" name="Rettangolo 31"/>
            <p:cNvSpPr/>
            <p:nvPr userDrawn="1"/>
          </p:nvSpPr>
          <p:spPr>
            <a:xfrm>
              <a:off x="745213" y="206111"/>
              <a:ext cx="1565036" cy="427349"/>
            </a:xfrm>
            <a:prstGeom prst="rect">
              <a:avLst/>
            </a:prstGeom>
            <a:solidFill>
              <a:srgbClr val="EED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tx2"/>
                  </a:solidFill>
                </a:rPr>
                <a:t>GIALLO</a:t>
              </a:r>
            </a:p>
            <a:p>
              <a:pPr algn="ctr"/>
              <a:r>
                <a:rPr lang="it-IT" sz="894" b="1">
                  <a:solidFill>
                    <a:schemeClr val="tx2"/>
                  </a:solidFill>
                </a:rPr>
                <a:t>238-220-0</a:t>
              </a:r>
            </a:p>
          </p:txBody>
        </p:sp>
        <p:sp>
          <p:nvSpPr>
            <p:cNvPr id="33" name="Rettangolo 32"/>
            <p:cNvSpPr/>
            <p:nvPr userDrawn="1"/>
          </p:nvSpPr>
          <p:spPr>
            <a:xfrm>
              <a:off x="2407411" y="206111"/>
              <a:ext cx="1565036" cy="427349"/>
            </a:xfrm>
            <a:prstGeom prst="rect">
              <a:avLst/>
            </a:prstGeom>
            <a:solidFill>
              <a:srgbClr val="0047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1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71-187</a:t>
              </a:r>
            </a:p>
          </p:txBody>
        </p:sp>
        <p:sp>
          <p:nvSpPr>
            <p:cNvPr id="34" name="Rettangolo 33"/>
            <p:cNvSpPr/>
            <p:nvPr userDrawn="1"/>
          </p:nvSpPr>
          <p:spPr>
            <a:xfrm>
              <a:off x="7394007" y="210491"/>
              <a:ext cx="1565034" cy="427349"/>
            </a:xfrm>
            <a:prstGeom prst="rect">
              <a:avLst/>
            </a:prstGeom>
            <a:solidFill>
              <a:srgbClr val="3C3C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1 </a:t>
              </a:r>
              <a:br>
                <a:rPr lang="it-IT" sz="1137" b="1">
                  <a:solidFill>
                    <a:schemeClr val="bg1"/>
                  </a:solidFill>
                </a:rPr>
              </a:br>
              <a:r>
                <a:rPr lang="it-IT" sz="894" b="0">
                  <a:solidFill>
                    <a:schemeClr val="bg1"/>
                  </a:solidFill>
                </a:rPr>
                <a:t>(testo e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0-60-59</a:t>
              </a:r>
              <a:endParaRPr lang="it-IT" sz="1137" b="1">
                <a:solidFill>
                  <a:schemeClr val="bg1"/>
                </a:solidFill>
              </a:endParaRPr>
            </a:p>
          </p:txBody>
        </p:sp>
        <p:sp>
          <p:nvSpPr>
            <p:cNvPr id="35" name="Rettangolo 34"/>
            <p:cNvSpPr/>
            <p:nvPr userDrawn="1"/>
          </p:nvSpPr>
          <p:spPr>
            <a:xfrm>
              <a:off x="9056203" y="206111"/>
              <a:ext cx="1565034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GRIGIO 2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112-111-111</a:t>
              </a:r>
            </a:p>
          </p:txBody>
        </p:sp>
        <p:sp>
          <p:nvSpPr>
            <p:cNvPr id="36" name="Rettangolo 35"/>
            <p:cNvSpPr/>
            <p:nvPr userDrawn="1"/>
          </p:nvSpPr>
          <p:spPr>
            <a:xfrm>
              <a:off x="10718399" y="206111"/>
              <a:ext cx="1565034" cy="42734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2">
                      <a:lumMod val="25000"/>
                    </a:schemeClr>
                  </a:solidFill>
                </a:rPr>
                <a:t>GRIGIO 3</a:t>
              </a:r>
            </a:p>
            <a:p>
              <a:pPr algn="ctr"/>
              <a:r>
                <a:rPr lang="it-IT" sz="894" b="1">
                  <a:solidFill>
                    <a:schemeClr val="bg2">
                      <a:lumMod val="25000"/>
                    </a:schemeClr>
                  </a:solidFill>
                </a:rPr>
                <a:t>192-192-192</a:t>
              </a:r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987A725F-B243-49F6-A2A5-CDF5B8502E26}"/>
                </a:ext>
              </a:extLst>
            </p:cNvPr>
            <p:cNvSpPr/>
            <p:nvPr userDrawn="1"/>
          </p:nvSpPr>
          <p:spPr>
            <a:xfrm>
              <a:off x="4069610" y="206111"/>
              <a:ext cx="1565036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BLU 2 </a:t>
              </a:r>
            </a:p>
            <a:p>
              <a:pPr algn="ctr"/>
              <a:r>
                <a:rPr lang="it-IT" sz="894" b="0">
                  <a:solidFill>
                    <a:schemeClr val="bg1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61-134-255</a:t>
              </a: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55D8F638-7BA9-49A8-98E3-F553E8E7488D}"/>
                </a:ext>
              </a:extLst>
            </p:cNvPr>
            <p:cNvSpPr/>
            <p:nvPr userDrawn="1"/>
          </p:nvSpPr>
          <p:spPr>
            <a:xfrm>
              <a:off x="5731808" y="206111"/>
              <a:ext cx="1565036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rgbClr val="3C3C3B"/>
                  </a:solidFill>
                </a:rPr>
                <a:t>BLU 2 </a:t>
              </a:r>
              <a:br>
                <a:rPr lang="it-IT" sz="1137" b="1">
                  <a:solidFill>
                    <a:srgbClr val="3C3C3B"/>
                  </a:solidFill>
                </a:rPr>
              </a:br>
              <a:r>
                <a:rPr lang="it-IT" sz="894" b="0">
                  <a:solidFill>
                    <a:srgbClr val="3C3C3B"/>
                  </a:solidFill>
                </a:rPr>
                <a:t>(solo grafici)</a:t>
              </a:r>
            </a:p>
            <a:p>
              <a:pPr algn="ctr"/>
              <a:r>
                <a:rPr lang="it-IT" sz="894" b="1">
                  <a:solidFill>
                    <a:srgbClr val="3C3C3B"/>
                  </a:solidFill>
                </a:rPr>
                <a:t>190-214-255</a:t>
              </a:r>
            </a:p>
          </p:txBody>
        </p:sp>
        <p:sp>
          <p:nvSpPr>
            <p:cNvPr id="64" name="Rettangolo 63"/>
            <p:cNvSpPr/>
            <p:nvPr userDrawn="1"/>
          </p:nvSpPr>
          <p:spPr>
            <a:xfrm>
              <a:off x="12380594" y="206111"/>
              <a:ext cx="1565034" cy="427349"/>
            </a:xfrm>
            <a:prstGeom prst="rect">
              <a:avLst/>
            </a:prstGeom>
            <a:solidFill>
              <a:srgbClr val="009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137" b="1">
                  <a:solidFill>
                    <a:schemeClr val="bg1"/>
                  </a:solidFill>
                </a:rPr>
                <a:t>VERDE</a:t>
              </a:r>
            </a:p>
            <a:p>
              <a:pPr algn="ctr"/>
              <a:r>
                <a:rPr lang="it-IT" sz="894" b="1">
                  <a:solidFill>
                    <a:schemeClr val="bg1"/>
                  </a:solidFill>
                </a:rPr>
                <a:t>0-158-71</a:t>
              </a:r>
            </a:p>
          </p:txBody>
        </p:sp>
      </p:grpSp>
      <p:sp>
        <p:nvSpPr>
          <p:cNvPr id="44" name="Triangolo isoscele 43"/>
          <p:cNvSpPr/>
          <p:nvPr/>
        </p:nvSpPr>
        <p:spPr>
          <a:xfrm rot="10800000">
            <a:off x="303127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5" name="Triangolo isoscele 44"/>
          <p:cNvSpPr/>
          <p:nvPr/>
        </p:nvSpPr>
        <p:spPr>
          <a:xfrm rot="10800000">
            <a:off x="11756536" y="-3247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6" name="Triangolo isoscele 45"/>
          <p:cNvSpPr/>
          <p:nvPr/>
        </p:nvSpPr>
        <p:spPr>
          <a:xfrm>
            <a:off x="303127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7" name="Triangolo isoscele 46"/>
          <p:cNvSpPr/>
          <p:nvPr/>
        </p:nvSpPr>
        <p:spPr>
          <a:xfrm>
            <a:off x="11756536" y="6950755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7603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76039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0" name="Triangolo isoscele 49"/>
          <p:cNvSpPr/>
          <p:nvPr/>
        </p:nvSpPr>
        <p:spPr>
          <a:xfrm rot="16200000">
            <a:off x="12331119" y="88537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51" name="Triangolo isoscele 50"/>
          <p:cNvSpPr/>
          <p:nvPr/>
        </p:nvSpPr>
        <p:spPr>
          <a:xfrm rot="16200000">
            <a:off x="12331120" y="598288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6" tIns="37133" rIns="74266" bIns="371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975"/>
          </a:p>
        </p:txBody>
      </p:sp>
      <p:sp>
        <p:nvSpPr>
          <p:cNvPr id="41" name="object 3">
            <a:extLst>
              <a:ext uri="{FF2B5EF4-FFF2-40B4-BE49-F238E27FC236}">
                <a16:creationId xmlns:a16="http://schemas.microsoft.com/office/drawing/2014/main" id="{AB9529F2-787A-4810-9C0F-4770FD0B6A5E}"/>
              </a:ext>
            </a:extLst>
          </p:cNvPr>
          <p:cNvSpPr/>
          <p:nvPr/>
        </p:nvSpPr>
        <p:spPr>
          <a:xfrm>
            <a:off x="11103687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381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42" name="object 4">
            <a:extLst>
              <a:ext uri="{FF2B5EF4-FFF2-40B4-BE49-F238E27FC236}">
                <a16:creationId xmlns:a16="http://schemas.microsoft.com/office/drawing/2014/main" id="{ADE77F40-999C-41E7-B8D5-29B958BAE942}"/>
              </a:ext>
            </a:extLst>
          </p:cNvPr>
          <p:cNvSpPr/>
          <p:nvPr/>
        </p:nvSpPr>
        <p:spPr>
          <a:xfrm>
            <a:off x="11838775" y="6517532"/>
            <a:ext cx="0" cy="342265"/>
          </a:xfrm>
          <a:custGeom>
            <a:avLst/>
            <a:gdLst/>
            <a:ahLst/>
            <a:cxnLst/>
            <a:rect l="l" t="t" r="r" b="b"/>
            <a:pathLst>
              <a:path h="342265">
                <a:moveTo>
                  <a:pt x="0" y="0"/>
                </a:moveTo>
                <a:lnTo>
                  <a:pt x="0" y="341659"/>
                </a:lnTo>
              </a:path>
            </a:pathLst>
          </a:custGeom>
          <a:ln w="12700">
            <a:solidFill>
              <a:srgbClr val="294CBA"/>
            </a:solidFill>
          </a:ln>
        </p:spPr>
        <p:txBody>
          <a:bodyPr wrap="square" lIns="0" tIns="0" rIns="0" bIns="0" rtlCol="0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462"/>
          </a:p>
        </p:txBody>
      </p:sp>
      <p:sp>
        <p:nvSpPr>
          <p:cNvPr id="37" name="Segnaposto numero diapositiva 5">
            <a:extLst>
              <a:ext uri="{FF2B5EF4-FFF2-40B4-BE49-F238E27FC236}">
                <a16:creationId xmlns:a16="http://schemas.microsoft.com/office/drawing/2014/main" id="{CC94EA79-BF17-4AC2-A1C9-D22D6C6A1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8301" y="6498254"/>
            <a:ext cx="645859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rgbClr val="0047BB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44268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742710" rtl="0" eaLnBrk="1" latinLnBrk="0" hangingPunct="1">
        <a:lnSpc>
          <a:spcPct val="90000"/>
        </a:lnSpc>
        <a:spcBef>
          <a:spcPct val="0"/>
        </a:spcBef>
        <a:buNone/>
        <a:defRPr sz="195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678" indent="-185678" algn="l" defTabSz="742710" rtl="0" eaLnBrk="1" latinLnBrk="0" hangingPunct="1">
        <a:lnSpc>
          <a:spcPct val="90000"/>
        </a:lnSpc>
        <a:spcBef>
          <a:spcPts val="812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625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57033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462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28387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Font typeface="Arial" panose="020B0604020202020204" pitchFamily="34" charset="0"/>
        <a:buChar char="•"/>
        <a:defRPr lang="it-IT" sz="13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99742" indent="-185678" algn="l" defTabSz="742710" rtl="0" eaLnBrk="1" latinLnBrk="0" hangingPunct="1">
        <a:lnSpc>
          <a:spcPct val="90000"/>
        </a:lnSpc>
        <a:spcBef>
          <a:spcPts val="406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71098" indent="-185678" algn="l" defTabSz="742710" rtl="0" eaLnBrk="1" latinLnBrk="0" hangingPunct="1">
        <a:lnSpc>
          <a:spcPct val="90000"/>
        </a:lnSpc>
        <a:spcBef>
          <a:spcPts val="406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137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042452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3807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163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6518" indent="-185678" algn="l" defTabSz="74271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5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71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06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42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77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13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485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0840" algn="l" defTabSz="74271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4">
          <p15:clr>
            <a:srgbClr val="9FCC3B"/>
          </p15:clr>
        </p15:guide>
        <p15:guide id="2" pos="3840">
          <p15:clr>
            <a:srgbClr val="F26B43"/>
          </p15:clr>
        </p15:guide>
        <p15:guide id="3" orient="horz" pos="3851">
          <p15:clr>
            <a:srgbClr val="9FCC3B"/>
          </p15:clr>
        </p15:guide>
        <p15:guide id="4" orient="horz" pos="640">
          <p15:clr>
            <a:srgbClr val="FBAE40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21" imgH="420" progId="TCLayout.ActiveDocument.1">
                  <p:embed/>
                </p:oleObj>
              </mc:Choice>
              <mc:Fallback>
                <p:oleObj name="Diapositiva think-cell" r:id="rId3" imgW="421" imgH="420" progId="TCLayout.ActiveDocument.1">
                  <p:embed/>
                  <p:pic>
                    <p:nvPicPr>
                      <p:cNvPr id="5" name="Oggetto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olo 4">
            <a:extLst>
              <a:ext uri="{FF2B5EF4-FFF2-40B4-BE49-F238E27FC236}">
                <a16:creationId xmlns:a16="http://schemas.microsoft.com/office/drawing/2014/main" id="{A30C6715-95DD-492A-A176-E4C5C4950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61" y="35499"/>
            <a:ext cx="11418587" cy="358951"/>
          </a:xfrm>
        </p:spPr>
        <p:txBody>
          <a:bodyPr vert="horz"/>
          <a:lstStyle/>
          <a:p>
            <a:r>
              <a:rPr lang="it-IT" sz="1800" dirty="0"/>
              <a:t>LB PER ATTIVITA’ DI CHIUSURA</a:t>
            </a:r>
          </a:p>
        </p:txBody>
      </p:sp>
      <p:sp>
        <p:nvSpPr>
          <p:cNvPr id="33" name="Segnaposto testo 5">
            <a:extLst>
              <a:ext uri="{FF2B5EF4-FFF2-40B4-BE49-F238E27FC236}">
                <a16:creationId xmlns:a16="http://schemas.microsoft.com/office/drawing/2014/main" id="{B1CD3314-E9C7-4027-9DD7-2A3E052B80B5}"/>
              </a:ext>
            </a:extLst>
          </p:cNvPr>
          <p:cNvSpPr txBox="1">
            <a:spLocks/>
          </p:cNvSpPr>
          <p:nvPr/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742710" rtl="0" eaLnBrk="1" latinLnBrk="0" hangingPunct="1">
              <a:lnSpc>
                <a:spcPct val="90000"/>
              </a:lnSpc>
              <a:spcBef>
                <a:spcPts val="812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  <a:defRPr lang="it-IT" sz="1462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57033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lang="it-IT" sz="1462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387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lang="it-IT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9742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Clr>
                <a:schemeClr val="accent4"/>
              </a:buClr>
              <a:buSzPct val="80000"/>
              <a:buFont typeface="Courier New" panose="02070309020205020404" pitchFamily="49" charset="0"/>
              <a:buChar char="o"/>
              <a:defRPr lang="it-IT" sz="113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098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Char char="•"/>
              <a:defRPr lang="it-IT" sz="113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2452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3807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5163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6518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42710" rtl="0" eaLnBrk="1" fontAlgn="auto" latinLnBrk="0" hangingPunct="1">
              <a:lnSpc>
                <a:spcPct val="90000"/>
              </a:lnSpc>
              <a:spcBef>
                <a:spcPts val="812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BC DA TRASFORMARE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F34BABD9-4B3E-FDF4-C11C-F77E0C047B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46141" y="6500817"/>
            <a:ext cx="645859" cy="357187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7FA73C-A7EE-4241-A631-441DFD16C2EB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D8BCF18-EBEB-BD27-6B15-C4F4B32587A7}"/>
              </a:ext>
            </a:extLst>
          </p:cNvPr>
          <p:cNvSpPr txBox="1"/>
          <p:nvPr/>
        </p:nvSpPr>
        <p:spPr>
          <a:xfrm>
            <a:off x="1474237" y="1071408"/>
            <a:ext cx="86214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it-IT" sz="1600" dirty="0">
                <a:solidFill>
                  <a:srgbClr val="0047BB"/>
                </a:solidFill>
              </a:rPr>
              <a:t>A seguito delle verifiche territoriali sullo stato di assegnazione delle LBC da trasformare, delle 547 articolazioni complessive: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it-IT" sz="1600" b="1" dirty="0">
                <a:solidFill>
                  <a:srgbClr val="0047BB"/>
                </a:solidFill>
              </a:rPr>
              <a:t>248</a:t>
            </a:r>
            <a:r>
              <a:rPr lang="it-IT" sz="1600" dirty="0">
                <a:solidFill>
                  <a:srgbClr val="0047BB"/>
                </a:solidFill>
              </a:rPr>
              <a:t> risultano assegnate (da effettuare riassegnazione zone)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it-IT" sz="1600" b="1" dirty="0">
                <a:solidFill>
                  <a:srgbClr val="0047BB"/>
                </a:solidFill>
              </a:rPr>
              <a:t>299</a:t>
            </a:r>
            <a:r>
              <a:rPr lang="it-IT" sz="1600" dirty="0">
                <a:solidFill>
                  <a:srgbClr val="0047BB"/>
                </a:solidFill>
              </a:rPr>
              <a:t> non assegnate</a:t>
            </a:r>
          </a:p>
        </p:txBody>
      </p:sp>
      <p:graphicFrame>
        <p:nvGraphicFramePr>
          <p:cNvPr id="6" name="Tabella 5">
            <a:extLst>
              <a:ext uri="{FF2B5EF4-FFF2-40B4-BE49-F238E27FC236}">
                <a16:creationId xmlns:a16="http://schemas.microsoft.com/office/drawing/2014/main" id="{A2EBB966-8AF8-8D08-9EB2-4AD01EE237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3763883"/>
              </p:ext>
            </p:extLst>
          </p:nvPr>
        </p:nvGraphicFramePr>
        <p:xfrm>
          <a:off x="1474237" y="2687216"/>
          <a:ext cx="8621485" cy="3247048"/>
        </p:xfrm>
        <a:graphic>
          <a:graphicData uri="http://schemas.openxmlformats.org/drawingml/2006/table">
            <a:tbl>
              <a:tblPr/>
              <a:tblGrid>
                <a:gridCol w="2315877">
                  <a:extLst>
                    <a:ext uri="{9D8B030D-6E8A-4147-A177-3AD203B41FA5}">
                      <a16:colId xmlns:a16="http://schemas.microsoft.com/office/drawing/2014/main" val="1492216757"/>
                    </a:ext>
                  </a:extLst>
                </a:gridCol>
                <a:gridCol w="2088172">
                  <a:extLst>
                    <a:ext uri="{9D8B030D-6E8A-4147-A177-3AD203B41FA5}">
                      <a16:colId xmlns:a16="http://schemas.microsoft.com/office/drawing/2014/main" val="3614662501"/>
                    </a:ext>
                  </a:extLst>
                </a:gridCol>
                <a:gridCol w="2084993">
                  <a:extLst>
                    <a:ext uri="{9D8B030D-6E8A-4147-A177-3AD203B41FA5}">
                      <a16:colId xmlns:a16="http://schemas.microsoft.com/office/drawing/2014/main" val="1655029815"/>
                    </a:ext>
                  </a:extLst>
                </a:gridCol>
                <a:gridCol w="2132443">
                  <a:extLst>
                    <a:ext uri="{9D8B030D-6E8A-4147-A177-3AD203B41FA5}">
                      <a16:colId xmlns:a16="http://schemas.microsoft.com/office/drawing/2014/main" val="3091372687"/>
                    </a:ext>
                  </a:extLst>
                </a:gridCol>
              </a:tblGrid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ssegnat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n assegnat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e complessiv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587574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8137603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O NOR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6322438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D ES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828622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D OVES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2094831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CILI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422902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2650709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e complessiv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520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357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21" imgH="420" progId="TCLayout.ActiveDocument.1">
                  <p:embed/>
                </p:oleObj>
              </mc:Choice>
              <mc:Fallback>
                <p:oleObj name="Diapositiva think-cell" r:id="rId3" imgW="421" imgH="420" progId="TCLayout.ActiveDocument.1">
                  <p:embed/>
                  <p:pic>
                    <p:nvPicPr>
                      <p:cNvPr id="5" name="Oggetto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olo 4">
            <a:extLst>
              <a:ext uri="{FF2B5EF4-FFF2-40B4-BE49-F238E27FC236}">
                <a16:creationId xmlns:a16="http://schemas.microsoft.com/office/drawing/2014/main" id="{A30C6715-95DD-492A-A176-E4C5C4950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61" y="35499"/>
            <a:ext cx="11418587" cy="358951"/>
          </a:xfrm>
        </p:spPr>
        <p:txBody>
          <a:bodyPr vert="horz"/>
          <a:lstStyle/>
          <a:p>
            <a:r>
              <a:rPr lang="it-IT" sz="1800" dirty="0"/>
              <a:t>LB PER ATTIVITA’ DI CHIUSURA</a:t>
            </a:r>
          </a:p>
        </p:txBody>
      </p:sp>
      <p:sp>
        <p:nvSpPr>
          <p:cNvPr id="33" name="Segnaposto testo 5">
            <a:extLst>
              <a:ext uri="{FF2B5EF4-FFF2-40B4-BE49-F238E27FC236}">
                <a16:creationId xmlns:a16="http://schemas.microsoft.com/office/drawing/2014/main" id="{B1CD3314-E9C7-4027-9DD7-2A3E052B80B5}"/>
              </a:ext>
            </a:extLst>
          </p:cNvPr>
          <p:cNvSpPr txBox="1">
            <a:spLocks/>
          </p:cNvSpPr>
          <p:nvPr/>
        </p:nvSpPr>
        <p:spPr>
          <a:xfrm>
            <a:off x="458560" y="360572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742710" rtl="0" eaLnBrk="1" latinLnBrk="0" hangingPunct="1">
              <a:lnSpc>
                <a:spcPct val="90000"/>
              </a:lnSpc>
              <a:spcBef>
                <a:spcPts val="812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  <a:defRPr lang="it-IT" sz="1462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57033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lang="it-IT" sz="1462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387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lang="it-IT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9742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Clr>
                <a:schemeClr val="accent4"/>
              </a:buClr>
              <a:buSzPct val="80000"/>
              <a:buFont typeface="Courier New" panose="02070309020205020404" pitchFamily="49" charset="0"/>
              <a:buChar char="o"/>
              <a:defRPr lang="it-IT" sz="113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098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Char char="•"/>
              <a:defRPr lang="it-IT" sz="113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2452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3807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5163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6518" indent="-185678" algn="l" defTabSz="74271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42710" rtl="0" eaLnBrk="1" fontAlgn="auto" latinLnBrk="0" hangingPunct="1">
              <a:lnSpc>
                <a:spcPct val="90000"/>
              </a:lnSpc>
              <a:spcBef>
                <a:spcPts val="812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ITO RIASSEGNAZIONI LBC DA TRASFORMARE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F34BABD9-4B3E-FDF4-C11C-F77E0C047B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46141" y="6500817"/>
            <a:ext cx="645859" cy="357187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7FA73C-A7EE-4241-A631-441DFD16C2EB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D8BCF18-EBEB-BD27-6B15-C4F4B32587A7}"/>
              </a:ext>
            </a:extLst>
          </p:cNvPr>
          <p:cNvSpPr txBox="1"/>
          <p:nvPr/>
        </p:nvSpPr>
        <p:spPr>
          <a:xfrm>
            <a:off x="1474237" y="1071408"/>
            <a:ext cx="8621484" cy="1154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it-IT" sz="1600" dirty="0">
                <a:solidFill>
                  <a:srgbClr val="0047BB"/>
                </a:solidFill>
              </a:rPr>
              <a:t>Delle 248 LBC da trasformare che risultavano già assegnate: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it-IT" sz="1600" b="1" dirty="0">
                <a:solidFill>
                  <a:srgbClr val="0047BB"/>
                </a:solidFill>
              </a:rPr>
              <a:t>200</a:t>
            </a:r>
            <a:r>
              <a:rPr lang="it-IT" sz="1600" dirty="0">
                <a:solidFill>
                  <a:srgbClr val="0047BB"/>
                </a:solidFill>
              </a:rPr>
              <a:t> sono rimaste assegnate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it-IT" sz="1600" b="1" dirty="0">
                <a:solidFill>
                  <a:srgbClr val="0047BB"/>
                </a:solidFill>
              </a:rPr>
              <a:t>48</a:t>
            </a:r>
            <a:r>
              <a:rPr lang="it-IT" sz="1600" dirty="0">
                <a:solidFill>
                  <a:srgbClr val="0047BB"/>
                </a:solidFill>
              </a:rPr>
              <a:t> si sono scoperte</a:t>
            </a:r>
          </a:p>
        </p:txBody>
      </p:sp>
      <p:graphicFrame>
        <p:nvGraphicFramePr>
          <p:cNvPr id="6" name="Tabella 5">
            <a:extLst>
              <a:ext uri="{FF2B5EF4-FFF2-40B4-BE49-F238E27FC236}">
                <a16:creationId xmlns:a16="http://schemas.microsoft.com/office/drawing/2014/main" id="{A2EBB966-8AF8-8D08-9EB2-4AD01EE237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3049826"/>
              </p:ext>
            </p:extLst>
          </p:nvPr>
        </p:nvGraphicFramePr>
        <p:xfrm>
          <a:off x="1474237" y="2687216"/>
          <a:ext cx="8621485" cy="3247048"/>
        </p:xfrm>
        <a:graphic>
          <a:graphicData uri="http://schemas.openxmlformats.org/drawingml/2006/table">
            <a:tbl>
              <a:tblPr/>
              <a:tblGrid>
                <a:gridCol w="2315877">
                  <a:extLst>
                    <a:ext uri="{9D8B030D-6E8A-4147-A177-3AD203B41FA5}">
                      <a16:colId xmlns:a16="http://schemas.microsoft.com/office/drawing/2014/main" val="1492216757"/>
                    </a:ext>
                  </a:extLst>
                </a:gridCol>
                <a:gridCol w="2088172">
                  <a:extLst>
                    <a:ext uri="{9D8B030D-6E8A-4147-A177-3AD203B41FA5}">
                      <a16:colId xmlns:a16="http://schemas.microsoft.com/office/drawing/2014/main" val="3614662501"/>
                    </a:ext>
                  </a:extLst>
                </a:gridCol>
                <a:gridCol w="2084993">
                  <a:extLst>
                    <a:ext uri="{9D8B030D-6E8A-4147-A177-3AD203B41FA5}">
                      <a16:colId xmlns:a16="http://schemas.microsoft.com/office/drawing/2014/main" val="1655029815"/>
                    </a:ext>
                  </a:extLst>
                </a:gridCol>
                <a:gridCol w="2132443">
                  <a:extLst>
                    <a:ext uri="{9D8B030D-6E8A-4147-A177-3AD203B41FA5}">
                      <a16:colId xmlns:a16="http://schemas.microsoft.com/office/drawing/2014/main" val="3091372687"/>
                    </a:ext>
                  </a:extLst>
                </a:gridCol>
              </a:tblGrid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ssegnat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n assegnat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e complessiv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587574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8137603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O NOR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6322438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D ES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828622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D OVES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2094831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CILI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422902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2650709"/>
                  </a:ext>
                </a:extLst>
              </a:tr>
              <a:tr h="40588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e complessiv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520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620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MASTER REPORTING">
  <a:themeElements>
    <a:clrScheme name="Poste Italian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3D86FF"/>
      </a:accent3>
      <a:accent4>
        <a:srgbClr val="BED6FF"/>
      </a:accent4>
      <a:accent5>
        <a:srgbClr val="3B3B3A"/>
      </a:accent5>
      <a:accent6>
        <a:srgbClr val="706F6F"/>
      </a:accent6>
      <a:hlink>
        <a:srgbClr val="0047BB"/>
      </a:hlink>
      <a:folHlink>
        <a:srgbClr val="C0C0C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 ppt" id="{693C2EE4-B8E4-4830-8EEE-27B88E04F551}" vid="{E2FCC5D8-5B43-4CA1-9C4B-493C5FA50174}"/>
    </a:ext>
  </a:extLst>
</a:theme>
</file>

<file path=ppt/theme/theme2.xml><?xml version="1.0" encoding="utf-8"?>
<a:theme xmlns:a="http://schemas.openxmlformats.org/drawingml/2006/main" name="PMO">
  <a:themeElements>
    <a:clrScheme name="Poste Italian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3D86FF"/>
      </a:accent3>
      <a:accent4>
        <a:srgbClr val="BED6FF"/>
      </a:accent4>
      <a:accent5>
        <a:srgbClr val="3B3B3A"/>
      </a:accent5>
      <a:accent6>
        <a:srgbClr val="706F6F"/>
      </a:accent6>
      <a:hlink>
        <a:srgbClr val="0047BB"/>
      </a:hlink>
      <a:folHlink>
        <a:srgbClr val="C0C0C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 ppt" id="{693C2EE4-B8E4-4830-8EEE-27B88E04F551}" vid="{E2FCC5D8-5B43-4CA1-9C4B-493C5FA50174}"/>
    </a:ext>
  </a:extLst>
</a:theme>
</file>

<file path=ppt/theme/theme3.xml><?xml version="1.0" encoding="utf-8"?>
<a:theme xmlns:a="http://schemas.openxmlformats.org/drawingml/2006/main" name="4_MASTER REPORTING">
  <a:themeElements>
    <a:clrScheme name="Poste Italian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3D86FF"/>
      </a:accent3>
      <a:accent4>
        <a:srgbClr val="BED6FF"/>
      </a:accent4>
      <a:accent5>
        <a:srgbClr val="3B3B3A"/>
      </a:accent5>
      <a:accent6>
        <a:srgbClr val="706F6F"/>
      </a:accent6>
      <a:hlink>
        <a:srgbClr val="0047BB"/>
      </a:hlink>
      <a:folHlink>
        <a:srgbClr val="C0C0C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 ppt" id="{693C2EE4-B8E4-4830-8EEE-27B88E04F551}" vid="{E2FCC5D8-5B43-4CA1-9C4B-493C5FA50174}"/>
    </a:ext>
  </a:extLst>
</a:theme>
</file>

<file path=ppt/theme/theme4.xml><?xml version="1.0" encoding="utf-8"?>
<a:theme xmlns:a="http://schemas.openxmlformats.org/drawingml/2006/main" name="5_MASTER REPORTING">
  <a:themeElements>
    <a:clrScheme name="Poste Italian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3D86FF"/>
      </a:accent3>
      <a:accent4>
        <a:srgbClr val="BED6FF"/>
      </a:accent4>
      <a:accent5>
        <a:srgbClr val="3B3B3A"/>
      </a:accent5>
      <a:accent6>
        <a:srgbClr val="706F6F"/>
      </a:accent6>
      <a:hlink>
        <a:srgbClr val="0047BB"/>
      </a:hlink>
      <a:folHlink>
        <a:srgbClr val="C0C0C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 ppt" id="{693C2EE4-B8E4-4830-8EEE-27B88E04F551}" vid="{E2FCC5D8-5B43-4CA1-9C4B-493C5FA50174}"/>
    </a:ext>
  </a:extLst>
</a:theme>
</file>

<file path=ppt/theme/theme5.xml><?xml version="1.0" encoding="utf-8"?>
<a:theme xmlns:a="http://schemas.openxmlformats.org/drawingml/2006/main" name="MASTER REPORTING">
  <a:themeElements>
    <a:clrScheme name="Poste Italian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3D86FF"/>
      </a:accent3>
      <a:accent4>
        <a:srgbClr val="BED6FF"/>
      </a:accent4>
      <a:accent5>
        <a:srgbClr val="3B3B3A"/>
      </a:accent5>
      <a:accent6>
        <a:srgbClr val="706F6F"/>
      </a:accent6>
      <a:hlink>
        <a:srgbClr val="0047BB"/>
      </a:hlink>
      <a:folHlink>
        <a:srgbClr val="C0C0C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 ppt" id="{693C2EE4-B8E4-4830-8EEE-27B88E04F551}" vid="{E2FCC5D8-5B43-4CA1-9C4B-493C5FA50174}"/>
    </a:ext>
  </a:extLst>
</a:theme>
</file>

<file path=ppt/theme/theme6.xml><?xml version="1.0" encoding="utf-8"?>
<a:theme xmlns:a="http://schemas.openxmlformats.org/drawingml/2006/main" name="1_PMO">
  <a:themeElements>
    <a:clrScheme name="Poste Italian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3D86FF"/>
      </a:accent3>
      <a:accent4>
        <a:srgbClr val="BED6FF"/>
      </a:accent4>
      <a:accent5>
        <a:srgbClr val="3B3B3A"/>
      </a:accent5>
      <a:accent6>
        <a:srgbClr val="706F6F"/>
      </a:accent6>
      <a:hlink>
        <a:srgbClr val="0047BB"/>
      </a:hlink>
      <a:folHlink>
        <a:srgbClr val="C0C0C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 ppt" id="{693C2EE4-B8E4-4830-8EEE-27B88E04F551}" vid="{E2FCC5D8-5B43-4CA1-9C4B-493C5FA50174}"/>
    </a:ext>
  </a:extLst>
</a:theme>
</file>

<file path=ppt/theme/theme7.xml><?xml version="1.0" encoding="utf-8"?>
<a:theme xmlns:a="http://schemas.openxmlformats.org/drawingml/2006/main" name="5_POSTE">
  <a:themeElements>
    <a:clrScheme name="Personalizzato 24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C0C0C0"/>
      </a:accent1>
      <a:accent2>
        <a:srgbClr val="706F6F"/>
      </a:accent2>
      <a:accent3>
        <a:srgbClr val="EEDC00"/>
      </a:accent3>
      <a:accent4>
        <a:srgbClr val="706F6F"/>
      </a:accent4>
      <a:accent5>
        <a:srgbClr val="969696"/>
      </a:accent5>
      <a:accent6>
        <a:srgbClr val="C0C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STE" id="{67B4EC37-2A7B-4459-9FF9-B231EAEB148F}" vid="{EF608962-6354-4A2F-9D9E-BA0DC19CACB4}"/>
    </a:ext>
  </a:extLst>
</a:theme>
</file>

<file path=ppt/theme/theme8.xml><?xml version="1.0" encoding="utf-8"?>
<a:theme xmlns:a="http://schemas.openxmlformats.org/drawingml/2006/main" name="6_MASTER REPORTING">
  <a:themeElements>
    <a:clrScheme name="Poste Italian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3D86FF"/>
      </a:accent3>
      <a:accent4>
        <a:srgbClr val="BED6FF"/>
      </a:accent4>
      <a:accent5>
        <a:srgbClr val="3B3B3A"/>
      </a:accent5>
      <a:accent6>
        <a:srgbClr val="706F6F"/>
      </a:accent6>
      <a:hlink>
        <a:srgbClr val="0047BB"/>
      </a:hlink>
      <a:folHlink>
        <a:srgbClr val="C0C0C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 ppt" id="{693C2EE4-B8E4-4830-8EEE-27B88E04F551}" vid="{E2FCC5D8-5B43-4CA1-9C4B-493C5FA50174}"/>
    </a:ext>
  </a:extLst>
</a:theme>
</file>

<file path=ppt/theme/theme9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307733FDE6754BB596829C2F07C503" ma:contentTypeVersion="14" ma:contentTypeDescription="Create a new document." ma:contentTypeScope="" ma:versionID="d5084bf92f6d889c4a77083330126081">
  <xsd:schema xmlns:xsd="http://www.w3.org/2001/XMLSchema" xmlns:xs="http://www.w3.org/2001/XMLSchema" xmlns:p="http://schemas.microsoft.com/office/2006/metadata/properties" xmlns:ns2="6c2ed759-eccb-4019-9b01-16b2560f88d1" xmlns:ns3="7356da10-acf7-4d61-a563-018ab12bf04d" targetNamespace="http://schemas.microsoft.com/office/2006/metadata/properties" ma:root="true" ma:fieldsID="f9a75cb6b8d21b7df1d1ffbb66c33e6e" ns2:_="" ns3:_="">
    <xsd:import namespace="6c2ed759-eccb-4019-9b01-16b2560f88d1"/>
    <xsd:import namespace="7356da10-acf7-4d61-a563-018ab12bf04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_Flow_SignoffStatu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2ed759-eccb-4019-9b01-16b2560f88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_Flow_SignoffStatus" ma:index="19" nillable="true" ma:displayName="Sign-off status" ma:internalName="Sign_x002d_off_x0020_status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56da10-acf7-4d61-a563-018ab12bf04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6c2ed759-eccb-4019-9b01-16b2560f88d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97C65F-F42C-42C0-9BD2-FB0B9F6E66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2ed759-eccb-4019-9b01-16b2560f88d1"/>
    <ds:schemaRef ds:uri="7356da10-acf7-4d61-a563-018ab12bf0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2519F9-6A8B-48B6-80EB-1F0239C791C3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7356da10-acf7-4d61-a563-018ab12bf04d"/>
    <ds:schemaRef ds:uri="http://purl.org/dc/terms/"/>
    <ds:schemaRef ds:uri="6c2ed759-eccb-4019-9b01-16b2560f88d1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7901ECB-56B6-47FD-A069-13231455D1B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61de76f-3d5c-4174-917c-5ad4d06360cb}" enabled="0" method="" siteId="{761de76f-3d5c-4174-917c-5ad4d06360c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624</TotalTime>
  <Words>147</Words>
  <Application>Microsoft Office PowerPoint</Application>
  <PresentationFormat>Widescreen</PresentationFormat>
  <Paragraphs>76</Paragraphs>
  <Slides>2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8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</vt:i4>
      </vt:variant>
    </vt:vector>
  </HeadingPairs>
  <TitlesOfParts>
    <vt:vector size="16" baseType="lpstr">
      <vt:lpstr>Arial</vt:lpstr>
      <vt:lpstr>Calibri</vt:lpstr>
      <vt:lpstr>Courier New</vt:lpstr>
      <vt:lpstr>Tahoma</vt:lpstr>
      <vt:lpstr>Wingdings</vt:lpstr>
      <vt:lpstr>3_MASTER REPORTING</vt:lpstr>
      <vt:lpstr>PMO</vt:lpstr>
      <vt:lpstr>4_MASTER REPORTING</vt:lpstr>
      <vt:lpstr>5_MASTER REPORTING</vt:lpstr>
      <vt:lpstr>MASTER REPORTING</vt:lpstr>
      <vt:lpstr>1_PMO</vt:lpstr>
      <vt:lpstr>5_POSTE</vt:lpstr>
      <vt:lpstr>6_MASTER REPORTING</vt:lpstr>
      <vt:lpstr>Diapositiva think-cell</vt:lpstr>
      <vt:lpstr>LB PER ATTIVITA’ DI CHIUSURA</vt:lpstr>
      <vt:lpstr>LB PER ATTIVITA’ DI CHIUSURA</vt:lpstr>
    </vt:vector>
  </TitlesOfParts>
  <Company>Poste Italiane S.p.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SCARAMELLA MATTEO (PCL)</dc:creator>
  <cp:lastModifiedBy>DI STEFANO ROBERTA (CA)</cp:lastModifiedBy>
  <cp:revision>413</cp:revision>
  <cp:lastPrinted>2023-05-25T07:48:46Z</cp:lastPrinted>
  <dcterms:created xsi:type="dcterms:W3CDTF">2022-05-30T10:26:41Z</dcterms:created>
  <dcterms:modified xsi:type="dcterms:W3CDTF">2023-06-23T10:4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307733FDE6754BB596829C2F07C503</vt:lpwstr>
  </property>
  <property fmtid="{D5CDD505-2E9C-101B-9397-08002B2CF9AE}" pid="3" name="MediaServiceImageTags">
    <vt:lpwstr/>
  </property>
</Properties>
</file>